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98" r:id="rId1"/>
    <p:sldMasterId id="2147483811" r:id="rId2"/>
  </p:sldMasterIdLst>
  <p:notesMasterIdLst>
    <p:notesMasterId r:id="rId13"/>
  </p:notesMasterIdLst>
  <p:sldIdLst>
    <p:sldId id="386" r:id="rId3"/>
    <p:sldId id="683" r:id="rId4"/>
    <p:sldId id="726" r:id="rId5"/>
    <p:sldId id="727" r:id="rId6"/>
    <p:sldId id="709" r:id="rId7"/>
    <p:sldId id="708" r:id="rId8"/>
    <p:sldId id="730" r:id="rId9"/>
    <p:sldId id="729" r:id="rId10"/>
    <p:sldId id="723" r:id="rId11"/>
    <p:sldId id="724" r:id="rId12"/>
  </p:sldIdLst>
  <p:sldSz cx="15119350" cy="10691813"/>
  <p:notesSz cx="6797675" cy="9928225"/>
  <p:defaultTextStyle>
    <a:defPPr>
      <a:defRPr lang="ru-RU"/>
    </a:defPPr>
    <a:lvl1pPr marL="0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1pPr>
    <a:lvl2pPr marL="646469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2pPr>
    <a:lvl3pPr marL="1292937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3pPr>
    <a:lvl4pPr marL="1939406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4pPr>
    <a:lvl5pPr marL="2585874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5pPr>
    <a:lvl6pPr marL="3232343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6pPr>
    <a:lvl7pPr marL="3878810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7pPr>
    <a:lvl8pPr marL="4525280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8pPr>
    <a:lvl9pPr marL="5171747" algn="l" defTabSz="1292937" rtl="0" eaLnBrk="1" latinLnBrk="0" hangingPunct="1">
      <a:defRPr sz="254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4763" userDrawn="1">
          <p15:clr>
            <a:srgbClr val="A4A3A4"/>
          </p15:clr>
        </p15:guide>
        <p15:guide id="2" orient="horz" pos="3369" userDrawn="1">
          <p15:clr>
            <a:srgbClr val="A4A3A4"/>
          </p15:clr>
        </p15:guide>
        <p15:guide id="3" pos="488" userDrawn="1">
          <p15:clr>
            <a:srgbClr val="A4A3A4"/>
          </p15:clr>
        </p15:guide>
        <p15:guide id="4" orient="horz" pos="43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Наталья Алтыникова" initials="НА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C65A3"/>
    <a:srgbClr val="575086"/>
    <a:srgbClr val="9D9DD7"/>
    <a:srgbClr val="ABABDD"/>
    <a:srgbClr val="565087"/>
    <a:srgbClr val="423D67"/>
    <a:srgbClr val="CDCDEB"/>
    <a:srgbClr val="FF5429"/>
    <a:srgbClr val="8A8AD0"/>
    <a:srgbClr val="0074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839" autoAdjust="0"/>
    <p:restoredTop sz="99882" autoAdjust="0"/>
  </p:normalViewPr>
  <p:slideViewPr>
    <p:cSldViewPr snapToGrid="0" snapToObjects="1">
      <p:cViewPr varScale="1">
        <p:scale>
          <a:sx n="74" d="100"/>
          <a:sy n="74" d="100"/>
        </p:scale>
        <p:origin x="918" y="72"/>
      </p:cViewPr>
      <p:guideLst>
        <p:guide pos="4763"/>
        <p:guide orient="horz" pos="3369"/>
        <p:guide pos="488"/>
        <p:guide orient="horz" pos="43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76" d="100"/>
          <a:sy n="76" d="100"/>
        </p:scale>
        <p:origin x="-3282" y="-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D:\&#1056;&#1072;&#1073;&#1086;&#1090;&#1072;\&#1042;&#1085;&#1077;&#1073;&#1102;&#1076;&#1078;&#1077;&#1090;%202021\&#1054;&#1089;&#1085;&#1086;&#1074;&#1085;&#1086;&#1081;%20&#1101;&#1090;&#1072;&#1087;\&#1054;&#1090;&#1095;&#1077;&#1090;\&#1082;%2008.11.2021\&#1057;&#1074;&#1086;&#1076;+&#1087;&#1088;&#1086;&#1073;&#1083;&#1077;&#1084;&#1099;+&#1076;&#1086;&#1082;_&#1082;%2008.11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D:\&#1056;&#1072;&#1073;&#1086;&#1090;&#1072;\&#1042;&#1085;&#1077;&#1073;&#1102;&#1076;&#1078;&#1077;&#1090;%202021\&#1054;&#1089;&#1085;&#1086;&#1074;&#1085;&#1086;&#1081;%20&#1101;&#1090;&#1072;&#1087;\&#1054;&#1090;&#1095;&#1077;&#1090;\&#1082;%2008.11.2021\&#1057;&#1074;&#1086;&#1076;+&#1087;&#1088;&#1086;&#1073;&#1083;&#1077;&#1084;&#1099;+&#1076;&#1086;&#1082;_&#1082;%2008.11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523434771081191"/>
          <c:y val="4.9261083743842367E-2"/>
          <c:w val="0.49491526279685377"/>
          <c:h val="0.8367502327984179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E3BC-4ECB-B036-EFC928BB0B5B}"/>
              </c:ext>
            </c:extLst>
          </c:dPt>
          <c:dPt>
            <c:idx val="2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E3BC-4ECB-B036-EFC928BB0B5B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E3BC-4ECB-B036-EFC928BB0B5B}"/>
              </c:ext>
            </c:extLst>
          </c:dPt>
          <c:dPt>
            <c:idx val="9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E3BC-4ECB-B036-EFC928BB0B5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Проблемы_Обуч!$A$12:$A$21</c:f>
              <c:strCache>
                <c:ptCount val="10"/>
                <c:pt idx="0">
                  <c:v>Отсутствие качественной системы безопасности в школе</c:v>
                </c:pt>
                <c:pt idx="1">
                  <c:v>Отсутствие в школе системы работы с отстающими учениками</c:v>
                </c:pt>
                <c:pt idx="2">
                  <c:v>Неинтересные уроки</c:v>
                </c:pt>
                <c:pt idx="3">
                  <c:v>Недостаток площадей для осуществления образовательного процесса, и, как следствие обучение в 2-3 смены</c:v>
                </c:pt>
                <c:pt idx="4">
                  <c:v>Плохое питание</c:v>
                </c:pt>
                <c:pt idx="5">
                  <c:v>Отсутствие индивидуальных образовательных траекторий</c:v>
                </c:pt>
                <c:pt idx="6">
                  <c:v>Отсутствие интернета и доступа к электронным образовательным ресурсам в школе</c:v>
                </c:pt>
                <c:pt idx="7">
                  <c:v>Устаревшее оснащение школы</c:v>
                </c:pt>
                <c:pt idx="8">
                  <c:v>Слишком много контрольных работ</c:v>
                </c:pt>
                <c:pt idx="9">
                  <c:v>Перегруженность домашними заданиями</c:v>
                </c:pt>
              </c:strCache>
            </c:strRef>
          </c:cat>
          <c:val>
            <c:numRef>
              <c:f>Проблемы_Обуч!$C$12:$C$21</c:f>
              <c:numCache>
                <c:formatCode>0.0</c:formatCode>
                <c:ptCount val="10"/>
                <c:pt idx="0">
                  <c:v>28.501118568232663</c:v>
                </c:pt>
                <c:pt idx="1">
                  <c:v>28.590604026845639</c:v>
                </c:pt>
                <c:pt idx="2">
                  <c:v>30.290827740492173</c:v>
                </c:pt>
                <c:pt idx="3">
                  <c:v>30.425055928411631</c:v>
                </c:pt>
                <c:pt idx="4">
                  <c:v>30.514541387024607</c:v>
                </c:pt>
                <c:pt idx="5">
                  <c:v>32.841163310961967</c:v>
                </c:pt>
                <c:pt idx="6">
                  <c:v>37.583892617449663</c:v>
                </c:pt>
                <c:pt idx="7">
                  <c:v>42.908277404921705</c:v>
                </c:pt>
                <c:pt idx="8">
                  <c:v>51.946308724832214</c:v>
                </c:pt>
                <c:pt idx="9">
                  <c:v>66.5771812080536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3BC-4ECB-B036-EFC928BB0B5B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1376297424"/>
        <c:axId val="1239355440"/>
      </c:barChart>
      <c:catAx>
        <c:axId val="13762974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39355440"/>
        <c:crosses val="autoZero"/>
        <c:auto val="1"/>
        <c:lblAlgn val="ctr"/>
        <c:lblOffset val="100"/>
        <c:noMultiLvlLbl val="0"/>
      </c:catAx>
      <c:valAx>
        <c:axId val="1239355440"/>
        <c:scaling>
          <c:orientation val="minMax"/>
          <c:max val="70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проценты</a:t>
                </a:r>
              </a:p>
            </c:rich>
          </c:tx>
          <c:layout>
            <c:manualLayout>
              <c:xMode val="edge"/>
              <c:yMode val="edge"/>
              <c:x val="0.85678937113085341"/>
              <c:y val="0.8211956789981278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97" b="1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6297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396221650807813"/>
          <c:y val="5.9475533928088672E-2"/>
          <c:w val="0.48549792312839568"/>
          <c:h val="0.83721761854004062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rgbClr val="7A70C6"/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rgbClr val="FF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0-1FC7-4392-A158-A02877186DB9}"/>
              </c:ext>
            </c:extLst>
          </c:dPt>
          <c:dPt>
            <c:idx val="6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0C4E-41A5-9371-44F1FB288580}"/>
              </c:ext>
            </c:extLst>
          </c:dPt>
          <c:dPt>
            <c:idx val="7"/>
            <c:invertIfNegative val="0"/>
            <c:bubble3D val="0"/>
            <c:spPr>
              <a:solidFill>
                <a:srgbClr val="FF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0C4E-41A5-9371-44F1FB288580}"/>
              </c:ext>
            </c:extLst>
          </c:dPt>
          <c:dPt>
            <c:idx val="8"/>
            <c:invertIfNegative val="0"/>
            <c:bubble3D val="0"/>
            <c:spPr>
              <a:solidFill>
                <a:srgbClr val="C00000"/>
              </a:solidFill>
              <a:ln w="9525" cap="flat" cmpd="sng" algn="ctr">
                <a:solidFill>
                  <a:schemeClr val="lt1">
                    <a:alpha val="50000"/>
                  </a:schemeClr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0C4E-41A5-9371-44F1FB28858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Проблемы_Пед!$A$16:$A$25</c:f>
              <c:strCache>
                <c:ptCount val="10"/>
                <c:pt idx="0">
                  <c:v>Трудозатратная процедура аттестации педагогических работников</c:v>
                </c:pt>
                <c:pt idx="1">
                  <c:v>Недостаток площадей для осуществления образовательного процесса, и, как следствие обучение в 2-3 смены</c:v>
                </c:pt>
                <c:pt idx="2">
                  <c:v>Большое количество неоплачиваемой работы у педагогов</c:v>
                </c:pt>
                <c:pt idx="3">
                  <c:v>Недостаток квалифицированных педагогов</c:v>
                </c:pt>
                <c:pt idx="4">
                  <c:v>Низкий уровень материально-технической оснащенности образовательного процесса</c:v>
                </c:pt>
                <c:pt idx="5">
                  <c:v>Недостаток молодых педагогов</c:v>
                </c:pt>
                <c:pt idx="6">
                  <c:v>Перегруженность педагогов различными мероприятиями и проектами, не относящимися к образовательной программе</c:v>
                </c:pt>
                <c:pt idx="7">
                  <c:v>Низкий уровень мотивации к обучению у подрастающего поколения</c:v>
                </c:pt>
                <c:pt idx="8">
                  <c:v>Высокая документарная нагрузка педагогов</c:v>
                </c:pt>
                <c:pt idx="9">
                  <c:v>Низкая оплата труда педагогов</c:v>
                </c:pt>
              </c:strCache>
            </c:strRef>
          </c:cat>
          <c:val>
            <c:numRef>
              <c:f>Проблемы_Пед!$C$16:$C$25</c:f>
              <c:numCache>
                <c:formatCode>0.0</c:formatCode>
                <c:ptCount val="10"/>
                <c:pt idx="0">
                  <c:v>20.936902485659655</c:v>
                </c:pt>
                <c:pt idx="1">
                  <c:v>24.760994263862333</c:v>
                </c:pt>
                <c:pt idx="2">
                  <c:v>27.915869980879542</c:v>
                </c:pt>
                <c:pt idx="3">
                  <c:v>28.154875717017209</c:v>
                </c:pt>
                <c:pt idx="4">
                  <c:v>33.795411089866157</c:v>
                </c:pt>
                <c:pt idx="5">
                  <c:v>44.216061185468455</c:v>
                </c:pt>
                <c:pt idx="6">
                  <c:v>47.227533460803059</c:v>
                </c:pt>
                <c:pt idx="7">
                  <c:v>57.361376673040155</c:v>
                </c:pt>
                <c:pt idx="8">
                  <c:v>66.969407265774379</c:v>
                </c:pt>
                <c:pt idx="9">
                  <c:v>71.7495219885277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C4E-41A5-9371-44F1FB28858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1376297424"/>
        <c:axId val="1239355440"/>
      </c:barChart>
      <c:catAx>
        <c:axId val="137629742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39355440"/>
        <c:crosses val="autoZero"/>
        <c:auto val="1"/>
        <c:lblAlgn val="ctr"/>
        <c:lblOffset val="100"/>
        <c:noMultiLvlLbl val="0"/>
      </c:catAx>
      <c:valAx>
        <c:axId val="1239355440"/>
        <c:scaling>
          <c:orientation val="minMax"/>
        </c:scaling>
        <c:delete val="0"/>
        <c:axPos val="b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97" b="1" i="0" u="none" strike="noStrike" kern="1200" baseline="0">
                    <a:solidFill>
                      <a:schemeClr val="dk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/>
                  <a:t>проценты</a:t>
                </a:r>
              </a:p>
            </c:rich>
          </c:tx>
          <c:layout>
            <c:manualLayout>
              <c:xMode val="edge"/>
              <c:yMode val="edge"/>
              <c:x val="0.84584520467811641"/>
              <c:y val="0.8155612759943469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97" b="1" i="0" u="none" strike="noStrike" kern="1200" baseline="0">
                  <a:solidFill>
                    <a:schemeClr val="dk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76297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35AA43A-CB1A-4AAB-9CBC-C23D67B28EA4}" type="doc">
      <dgm:prSet loTypeId="urn:microsoft.com/office/officeart/2005/8/layout/cycle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6376079-BA01-434B-B1B6-1D7647171A39}">
      <dgm:prSet phldrT="[Текст]" custT="1"/>
      <dgm:spPr>
        <a:solidFill>
          <a:srgbClr val="C65D28"/>
        </a:solidFill>
      </dgm:spPr>
      <dgm:t>
        <a:bodyPr/>
        <a:lstStyle/>
        <a:p>
          <a:r>
            <a:rPr lang="ru-RU" sz="2400" b="1" dirty="0">
              <a:solidFill>
                <a:schemeClr val="tx1"/>
              </a:solidFill>
            </a:rPr>
            <a:t>Загруженность учителей </a:t>
          </a:r>
        </a:p>
      </dgm:t>
    </dgm:pt>
    <dgm:pt modelId="{E751C3BE-48A5-47E8-A70D-106C3230226F}" type="parTrans" cxnId="{1F9E5C0D-C448-4E3C-B9B3-4B2E4BA50135}">
      <dgm:prSet/>
      <dgm:spPr/>
      <dgm:t>
        <a:bodyPr/>
        <a:lstStyle/>
        <a:p>
          <a:endParaRPr lang="ru-RU"/>
        </a:p>
      </dgm:t>
    </dgm:pt>
    <dgm:pt modelId="{A47FF864-47EE-4DAD-8A79-1754FFF6E4B6}" type="sibTrans" cxnId="{1F9E5C0D-C448-4E3C-B9B3-4B2E4BA50135}">
      <dgm:prSet/>
      <dgm:spPr/>
      <dgm:t>
        <a:bodyPr/>
        <a:lstStyle/>
        <a:p>
          <a:endParaRPr lang="ru-RU"/>
        </a:p>
      </dgm:t>
    </dgm:pt>
    <dgm:pt modelId="{B78396D2-1CE1-4C84-8114-3E523A2FA96B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Некогда готовить интересные уроки  </a:t>
          </a:r>
        </a:p>
      </dgm:t>
    </dgm:pt>
    <dgm:pt modelId="{75CC6DC2-84BD-461F-90EF-327BD80FF570}" type="parTrans" cxnId="{CB99AED9-E9D0-407D-BE28-7C1A8125AC59}">
      <dgm:prSet/>
      <dgm:spPr/>
      <dgm:t>
        <a:bodyPr/>
        <a:lstStyle/>
        <a:p>
          <a:endParaRPr lang="ru-RU"/>
        </a:p>
      </dgm:t>
    </dgm:pt>
    <dgm:pt modelId="{B5EF4533-F99E-45F6-B2B5-71FF6875E469}" type="sibTrans" cxnId="{CB99AED9-E9D0-407D-BE28-7C1A8125AC59}">
      <dgm:prSet/>
      <dgm:spPr/>
      <dgm:t>
        <a:bodyPr/>
        <a:lstStyle/>
        <a:p>
          <a:endParaRPr lang="ru-RU"/>
        </a:p>
      </dgm:t>
    </dgm:pt>
    <dgm:pt modelId="{307FB031-6E95-4B1C-9F67-097412E27CAB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Большое количество домашних заданий </a:t>
          </a:r>
        </a:p>
      </dgm:t>
    </dgm:pt>
    <dgm:pt modelId="{AE942A54-A7FD-4165-8BE4-A83A2D4C822E}" type="parTrans" cxnId="{486C0B97-DBF1-4F61-B08D-FBFF983E5CAD}">
      <dgm:prSet/>
      <dgm:spPr/>
      <dgm:t>
        <a:bodyPr/>
        <a:lstStyle/>
        <a:p>
          <a:endParaRPr lang="ru-RU"/>
        </a:p>
      </dgm:t>
    </dgm:pt>
    <dgm:pt modelId="{FA85DA6C-F354-402F-ABDB-E2AAC1B62246}" type="sibTrans" cxnId="{486C0B97-DBF1-4F61-B08D-FBFF983E5CAD}">
      <dgm:prSet/>
      <dgm:spPr/>
      <dgm:t>
        <a:bodyPr/>
        <a:lstStyle/>
        <a:p>
          <a:endParaRPr lang="ru-RU"/>
        </a:p>
      </dgm:t>
    </dgm:pt>
    <dgm:pt modelId="{EF0348DC-321F-49B1-BF73-A31314043953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Низкая  мотивация </a:t>
          </a:r>
        </a:p>
      </dgm:t>
    </dgm:pt>
    <dgm:pt modelId="{3D042A4C-0590-47BE-82DF-D586F61A15B9}" type="parTrans" cxnId="{108C0BD8-09EA-4A31-ABAE-647D11B851CC}">
      <dgm:prSet/>
      <dgm:spPr/>
      <dgm:t>
        <a:bodyPr/>
        <a:lstStyle/>
        <a:p>
          <a:endParaRPr lang="ru-RU"/>
        </a:p>
      </dgm:t>
    </dgm:pt>
    <dgm:pt modelId="{2566CE4F-898D-4004-AD67-8B8E23FDEB43}" type="sibTrans" cxnId="{108C0BD8-09EA-4A31-ABAE-647D11B851CC}">
      <dgm:prSet/>
      <dgm:spPr/>
      <dgm:t>
        <a:bodyPr/>
        <a:lstStyle/>
        <a:p>
          <a:endParaRPr lang="ru-RU"/>
        </a:p>
      </dgm:t>
    </dgm:pt>
    <dgm:pt modelId="{0C8A38C0-625A-421E-9DC8-A13B963F4F78}">
      <dgm:prSet phldrT="[Текст]"/>
      <dgm:spPr>
        <a:solidFill>
          <a:srgbClr val="9999FF"/>
        </a:solidFill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Риски снижения результатов </a:t>
          </a:r>
        </a:p>
      </dgm:t>
    </dgm:pt>
    <dgm:pt modelId="{1CBBBA55-EC84-47CA-834F-CC9301B61219}" type="parTrans" cxnId="{74BDEA6D-BCE7-4AA1-A143-EC07540327CD}">
      <dgm:prSet/>
      <dgm:spPr/>
      <dgm:t>
        <a:bodyPr/>
        <a:lstStyle/>
        <a:p>
          <a:endParaRPr lang="ru-RU"/>
        </a:p>
      </dgm:t>
    </dgm:pt>
    <dgm:pt modelId="{B4738228-DC2E-4120-81F9-FE550CE6BDAE}" type="sibTrans" cxnId="{74BDEA6D-BCE7-4AA1-A143-EC07540327CD}">
      <dgm:prSet/>
      <dgm:spPr/>
      <dgm:t>
        <a:bodyPr/>
        <a:lstStyle/>
        <a:p>
          <a:endParaRPr lang="ru-RU"/>
        </a:p>
      </dgm:t>
    </dgm:pt>
    <dgm:pt modelId="{28863E19-90CD-4EB3-8E0E-1088B08A1248}">
      <dgm:prSet/>
      <dgm:spPr>
        <a:solidFill>
          <a:srgbClr val="9999FF"/>
        </a:solidFill>
        <a:ln>
          <a:solidFill>
            <a:srgbClr val="7A70C6"/>
          </a:solidFill>
        </a:ln>
      </dgm:spPr>
      <dgm:t>
        <a:bodyPr/>
        <a:lstStyle/>
        <a:p>
          <a:r>
            <a:rPr lang="ru-RU" b="1" dirty="0">
              <a:solidFill>
                <a:schemeClr val="tx2">
                  <a:lumMod val="10000"/>
                </a:schemeClr>
              </a:solidFill>
            </a:rPr>
            <a:t>Большое количество контрольных работ и мониторингов </a:t>
          </a:r>
        </a:p>
      </dgm:t>
    </dgm:pt>
    <dgm:pt modelId="{74C91205-5425-4A42-BB22-239ADDB3193F}" type="parTrans" cxnId="{844D6BDB-3760-4D39-9C12-240598FD2F5E}">
      <dgm:prSet/>
      <dgm:spPr/>
      <dgm:t>
        <a:bodyPr/>
        <a:lstStyle/>
        <a:p>
          <a:endParaRPr lang="ru-RU"/>
        </a:p>
      </dgm:t>
    </dgm:pt>
    <dgm:pt modelId="{49BB84AD-0A57-4533-8E2B-E8AD218CC4EF}" type="sibTrans" cxnId="{844D6BDB-3760-4D39-9C12-240598FD2F5E}">
      <dgm:prSet/>
      <dgm:spPr/>
      <dgm:t>
        <a:bodyPr/>
        <a:lstStyle/>
        <a:p>
          <a:endParaRPr lang="ru-RU"/>
        </a:p>
      </dgm:t>
    </dgm:pt>
    <dgm:pt modelId="{971A5FF0-6B18-4D08-866B-00D3450FA0B1}" type="pres">
      <dgm:prSet presAssocID="{135AA43A-CB1A-4AAB-9CBC-C23D67B28EA4}" presName="Name0" presStyleCnt="0">
        <dgm:presLayoutVars>
          <dgm:dir/>
          <dgm:resizeHandles val="exact"/>
        </dgm:presLayoutVars>
      </dgm:prSet>
      <dgm:spPr/>
    </dgm:pt>
    <dgm:pt modelId="{5CD32D72-A6C2-4E07-92EF-509ACB6D6B84}" type="pres">
      <dgm:prSet presAssocID="{135AA43A-CB1A-4AAB-9CBC-C23D67B28EA4}" presName="cycle" presStyleCnt="0"/>
      <dgm:spPr/>
    </dgm:pt>
    <dgm:pt modelId="{AD76F7DA-A05C-456D-9FED-BAA7D5FA686F}" type="pres">
      <dgm:prSet presAssocID="{36376079-BA01-434B-B1B6-1D7647171A39}" presName="nodeFirstNode" presStyleLbl="node1" presStyleIdx="0" presStyleCnt="6">
        <dgm:presLayoutVars>
          <dgm:bulletEnabled val="1"/>
        </dgm:presLayoutVars>
      </dgm:prSet>
      <dgm:spPr/>
    </dgm:pt>
    <dgm:pt modelId="{C9D7FD41-5293-4C8A-958C-2ED77A6004FF}" type="pres">
      <dgm:prSet presAssocID="{A47FF864-47EE-4DAD-8A79-1754FFF6E4B6}" presName="sibTransFirstNode" presStyleLbl="bgShp" presStyleIdx="0" presStyleCnt="1"/>
      <dgm:spPr/>
    </dgm:pt>
    <dgm:pt modelId="{FF9A7F4E-61A7-4165-9CDE-959383E90EE6}" type="pres">
      <dgm:prSet presAssocID="{B78396D2-1CE1-4C84-8114-3E523A2FA96B}" presName="nodeFollowingNodes" presStyleLbl="node1" presStyleIdx="1" presStyleCnt="6">
        <dgm:presLayoutVars>
          <dgm:bulletEnabled val="1"/>
        </dgm:presLayoutVars>
      </dgm:prSet>
      <dgm:spPr/>
    </dgm:pt>
    <dgm:pt modelId="{4F455018-EBF4-4209-9D90-5A9A20CE0B0E}" type="pres">
      <dgm:prSet presAssocID="{307FB031-6E95-4B1C-9F67-097412E27CAB}" presName="nodeFollowingNodes" presStyleLbl="node1" presStyleIdx="2" presStyleCnt="6">
        <dgm:presLayoutVars>
          <dgm:bulletEnabled val="1"/>
        </dgm:presLayoutVars>
      </dgm:prSet>
      <dgm:spPr/>
    </dgm:pt>
    <dgm:pt modelId="{B78DA06D-FD10-4DAA-80A9-3416FA1DD1C4}" type="pres">
      <dgm:prSet presAssocID="{EF0348DC-321F-49B1-BF73-A31314043953}" presName="nodeFollowingNodes" presStyleLbl="node1" presStyleIdx="3" presStyleCnt="6">
        <dgm:presLayoutVars>
          <dgm:bulletEnabled val="1"/>
        </dgm:presLayoutVars>
      </dgm:prSet>
      <dgm:spPr/>
    </dgm:pt>
    <dgm:pt modelId="{A656902B-D635-442F-8465-A64FC9976F3B}" type="pres">
      <dgm:prSet presAssocID="{0C8A38C0-625A-421E-9DC8-A13B963F4F78}" presName="nodeFollowingNodes" presStyleLbl="node1" presStyleIdx="4" presStyleCnt="6">
        <dgm:presLayoutVars>
          <dgm:bulletEnabled val="1"/>
        </dgm:presLayoutVars>
      </dgm:prSet>
      <dgm:spPr/>
    </dgm:pt>
    <dgm:pt modelId="{97F211FA-77BA-41DD-8E61-FA1013089D0A}" type="pres">
      <dgm:prSet presAssocID="{28863E19-90CD-4EB3-8E0E-1088B08A1248}" presName="nodeFollowingNodes" presStyleLbl="node1" presStyleIdx="5" presStyleCnt="6">
        <dgm:presLayoutVars>
          <dgm:bulletEnabled val="1"/>
        </dgm:presLayoutVars>
      </dgm:prSet>
      <dgm:spPr/>
    </dgm:pt>
  </dgm:ptLst>
  <dgm:cxnLst>
    <dgm:cxn modelId="{1F9E5C0D-C448-4E3C-B9B3-4B2E4BA50135}" srcId="{135AA43A-CB1A-4AAB-9CBC-C23D67B28EA4}" destId="{36376079-BA01-434B-B1B6-1D7647171A39}" srcOrd="0" destOrd="0" parTransId="{E751C3BE-48A5-47E8-A70D-106C3230226F}" sibTransId="{A47FF864-47EE-4DAD-8A79-1754FFF6E4B6}"/>
    <dgm:cxn modelId="{FD167D27-10E1-431D-ADED-0764D817960E}" type="presOf" srcId="{A47FF864-47EE-4DAD-8A79-1754FFF6E4B6}" destId="{C9D7FD41-5293-4C8A-958C-2ED77A6004FF}" srcOrd="0" destOrd="0" presId="urn:microsoft.com/office/officeart/2005/8/layout/cycle3"/>
    <dgm:cxn modelId="{1119123A-C034-485E-91AB-BD7F9E70453A}" type="presOf" srcId="{307FB031-6E95-4B1C-9F67-097412E27CAB}" destId="{4F455018-EBF4-4209-9D90-5A9A20CE0B0E}" srcOrd="0" destOrd="0" presId="urn:microsoft.com/office/officeart/2005/8/layout/cycle3"/>
    <dgm:cxn modelId="{74BDEA6D-BCE7-4AA1-A143-EC07540327CD}" srcId="{135AA43A-CB1A-4AAB-9CBC-C23D67B28EA4}" destId="{0C8A38C0-625A-421E-9DC8-A13B963F4F78}" srcOrd="4" destOrd="0" parTransId="{1CBBBA55-EC84-47CA-834F-CC9301B61219}" sibTransId="{B4738228-DC2E-4120-81F9-FE550CE6BDAE}"/>
    <dgm:cxn modelId="{0D845652-92E4-4FD3-8EB4-124F60BCBF0F}" type="presOf" srcId="{135AA43A-CB1A-4AAB-9CBC-C23D67B28EA4}" destId="{971A5FF0-6B18-4D08-866B-00D3450FA0B1}" srcOrd="0" destOrd="0" presId="urn:microsoft.com/office/officeart/2005/8/layout/cycle3"/>
    <dgm:cxn modelId="{EEEC0D76-E4D4-49EE-B823-2FBB68241AB2}" type="presOf" srcId="{36376079-BA01-434B-B1B6-1D7647171A39}" destId="{AD76F7DA-A05C-456D-9FED-BAA7D5FA686F}" srcOrd="0" destOrd="0" presId="urn:microsoft.com/office/officeart/2005/8/layout/cycle3"/>
    <dgm:cxn modelId="{DB7CD577-4297-4E4A-8C63-EA96AA3296F8}" type="presOf" srcId="{B78396D2-1CE1-4C84-8114-3E523A2FA96B}" destId="{FF9A7F4E-61A7-4165-9CDE-959383E90EE6}" srcOrd="0" destOrd="0" presId="urn:microsoft.com/office/officeart/2005/8/layout/cycle3"/>
    <dgm:cxn modelId="{486C0B97-DBF1-4F61-B08D-FBFF983E5CAD}" srcId="{135AA43A-CB1A-4AAB-9CBC-C23D67B28EA4}" destId="{307FB031-6E95-4B1C-9F67-097412E27CAB}" srcOrd="2" destOrd="0" parTransId="{AE942A54-A7FD-4165-8BE4-A83A2D4C822E}" sibTransId="{FA85DA6C-F354-402F-ABDB-E2AAC1B62246}"/>
    <dgm:cxn modelId="{0E1AF1CB-7001-4F99-8167-320B8C24B372}" type="presOf" srcId="{EF0348DC-321F-49B1-BF73-A31314043953}" destId="{B78DA06D-FD10-4DAA-80A9-3416FA1DD1C4}" srcOrd="0" destOrd="0" presId="urn:microsoft.com/office/officeart/2005/8/layout/cycle3"/>
    <dgm:cxn modelId="{9D1075D6-53E4-4C6D-8EDF-35C1B23CCB0B}" type="presOf" srcId="{28863E19-90CD-4EB3-8E0E-1088B08A1248}" destId="{97F211FA-77BA-41DD-8E61-FA1013089D0A}" srcOrd="0" destOrd="0" presId="urn:microsoft.com/office/officeart/2005/8/layout/cycle3"/>
    <dgm:cxn modelId="{108C0BD8-09EA-4A31-ABAE-647D11B851CC}" srcId="{135AA43A-CB1A-4AAB-9CBC-C23D67B28EA4}" destId="{EF0348DC-321F-49B1-BF73-A31314043953}" srcOrd="3" destOrd="0" parTransId="{3D042A4C-0590-47BE-82DF-D586F61A15B9}" sibTransId="{2566CE4F-898D-4004-AD67-8B8E23FDEB43}"/>
    <dgm:cxn modelId="{CB99AED9-E9D0-407D-BE28-7C1A8125AC59}" srcId="{135AA43A-CB1A-4AAB-9CBC-C23D67B28EA4}" destId="{B78396D2-1CE1-4C84-8114-3E523A2FA96B}" srcOrd="1" destOrd="0" parTransId="{75CC6DC2-84BD-461F-90EF-327BD80FF570}" sibTransId="{B5EF4533-F99E-45F6-B2B5-71FF6875E469}"/>
    <dgm:cxn modelId="{844D6BDB-3760-4D39-9C12-240598FD2F5E}" srcId="{135AA43A-CB1A-4AAB-9CBC-C23D67B28EA4}" destId="{28863E19-90CD-4EB3-8E0E-1088B08A1248}" srcOrd="5" destOrd="0" parTransId="{74C91205-5425-4A42-BB22-239ADDB3193F}" sibTransId="{49BB84AD-0A57-4533-8E2B-E8AD218CC4EF}"/>
    <dgm:cxn modelId="{17FF7DEE-4BDC-4C60-ADB5-93B64F90F112}" type="presOf" srcId="{0C8A38C0-625A-421E-9DC8-A13B963F4F78}" destId="{A656902B-D635-442F-8465-A64FC9976F3B}" srcOrd="0" destOrd="0" presId="urn:microsoft.com/office/officeart/2005/8/layout/cycle3"/>
    <dgm:cxn modelId="{9BBF81A4-536B-4BCF-A121-88449153B2A7}" type="presParOf" srcId="{971A5FF0-6B18-4D08-866B-00D3450FA0B1}" destId="{5CD32D72-A6C2-4E07-92EF-509ACB6D6B84}" srcOrd="0" destOrd="0" presId="urn:microsoft.com/office/officeart/2005/8/layout/cycle3"/>
    <dgm:cxn modelId="{1A032D25-4D17-4960-A39B-09431A7586D9}" type="presParOf" srcId="{5CD32D72-A6C2-4E07-92EF-509ACB6D6B84}" destId="{AD76F7DA-A05C-456D-9FED-BAA7D5FA686F}" srcOrd="0" destOrd="0" presId="urn:microsoft.com/office/officeart/2005/8/layout/cycle3"/>
    <dgm:cxn modelId="{D2EED499-DC9E-44AE-A546-3621DF32C3DC}" type="presParOf" srcId="{5CD32D72-A6C2-4E07-92EF-509ACB6D6B84}" destId="{C9D7FD41-5293-4C8A-958C-2ED77A6004FF}" srcOrd="1" destOrd="0" presId="urn:microsoft.com/office/officeart/2005/8/layout/cycle3"/>
    <dgm:cxn modelId="{BB423AB7-EB32-4193-AAC1-526BB70C0B24}" type="presParOf" srcId="{5CD32D72-A6C2-4E07-92EF-509ACB6D6B84}" destId="{FF9A7F4E-61A7-4165-9CDE-959383E90EE6}" srcOrd="2" destOrd="0" presId="urn:microsoft.com/office/officeart/2005/8/layout/cycle3"/>
    <dgm:cxn modelId="{5967D318-4F4E-4C1B-88C9-6F86AB029796}" type="presParOf" srcId="{5CD32D72-A6C2-4E07-92EF-509ACB6D6B84}" destId="{4F455018-EBF4-4209-9D90-5A9A20CE0B0E}" srcOrd="3" destOrd="0" presId="urn:microsoft.com/office/officeart/2005/8/layout/cycle3"/>
    <dgm:cxn modelId="{94FDAC7F-7501-430D-86EF-31B53FC97C7C}" type="presParOf" srcId="{5CD32D72-A6C2-4E07-92EF-509ACB6D6B84}" destId="{B78DA06D-FD10-4DAA-80A9-3416FA1DD1C4}" srcOrd="4" destOrd="0" presId="urn:microsoft.com/office/officeart/2005/8/layout/cycle3"/>
    <dgm:cxn modelId="{B58D135E-91F1-45E3-B889-58F7FDF788EA}" type="presParOf" srcId="{5CD32D72-A6C2-4E07-92EF-509ACB6D6B84}" destId="{A656902B-D635-442F-8465-A64FC9976F3B}" srcOrd="5" destOrd="0" presId="urn:microsoft.com/office/officeart/2005/8/layout/cycle3"/>
    <dgm:cxn modelId="{7F191870-A994-4C3A-8B0C-0E7D726857F2}" type="presParOf" srcId="{5CD32D72-A6C2-4E07-92EF-509ACB6D6B84}" destId="{97F211FA-77BA-41DD-8E61-FA1013089D0A}" srcOrd="6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8076A48-7C71-451E-9151-4EA285F07EFC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CA0DC72-F694-40BB-96DC-7A38E553CABB}">
      <dgm:prSet phldrT="[Текст]" custT="1"/>
      <dgm:spPr>
        <a:solidFill>
          <a:srgbClr val="575086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2400" dirty="0"/>
            <a:t>Контрольные работы </a:t>
          </a:r>
        </a:p>
      </dgm:t>
    </dgm:pt>
    <dgm:pt modelId="{E122C3A1-CD6A-4388-BC3F-CC36AE865712}" type="parTrans" cxnId="{340B1825-C223-4BB6-A20D-69B6F8DB5DE7}">
      <dgm:prSet/>
      <dgm:spPr/>
      <dgm:t>
        <a:bodyPr/>
        <a:lstStyle/>
        <a:p>
          <a:endParaRPr lang="ru-RU"/>
        </a:p>
      </dgm:t>
    </dgm:pt>
    <dgm:pt modelId="{97BC72FB-8114-44AE-A4DE-AF0358C98429}" type="sibTrans" cxnId="{340B1825-C223-4BB6-A20D-69B6F8DB5DE7}">
      <dgm:prSet/>
      <dgm:spPr/>
      <dgm:t>
        <a:bodyPr/>
        <a:lstStyle/>
        <a:p>
          <a:endParaRPr lang="ru-RU"/>
        </a:p>
      </dgm:t>
    </dgm:pt>
    <dgm:pt modelId="{83B44567-BB9B-4CFE-A523-D9A70B9770E9}">
      <dgm:prSet phldrT="[Текст]" custT="1"/>
      <dgm:spPr>
        <a:solidFill>
          <a:schemeClr val="accent6">
            <a:lumMod val="75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2400" dirty="0">
              <a:solidFill>
                <a:schemeClr val="bg1"/>
              </a:solidFill>
            </a:rPr>
            <a:t>Планирует учитель  </a:t>
          </a:r>
        </a:p>
      </dgm:t>
    </dgm:pt>
    <dgm:pt modelId="{F2CC3D4A-5449-4C93-A4E0-690577D0E4DB}" type="parTrans" cxnId="{57BA8073-EF4E-4FEF-AD90-B163420421B7}">
      <dgm:prSet/>
      <dgm:spPr/>
      <dgm:t>
        <a:bodyPr/>
        <a:lstStyle/>
        <a:p>
          <a:endParaRPr lang="ru-RU"/>
        </a:p>
      </dgm:t>
    </dgm:pt>
    <dgm:pt modelId="{FC2D6A21-4067-4AA0-991D-B45842521615}" type="sibTrans" cxnId="{57BA8073-EF4E-4FEF-AD90-B163420421B7}">
      <dgm:prSet/>
      <dgm:spPr/>
      <dgm:t>
        <a:bodyPr/>
        <a:lstStyle/>
        <a:p>
          <a:endParaRPr lang="ru-RU"/>
        </a:p>
      </dgm:t>
    </dgm:pt>
    <dgm:pt modelId="{6383DFBA-F6C7-48C7-84DB-038F6D221922}">
      <dgm:prSet phldrT="[Текст]" custT="1"/>
      <dgm:spPr>
        <a:solidFill>
          <a:srgbClr val="6C65A3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2400" dirty="0">
              <a:solidFill>
                <a:schemeClr val="bg1"/>
              </a:solidFill>
            </a:rPr>
            <a:t>Внешние оценочные мероприятия </a:t>
          </a:r>
        </a:p>
      </dgm:t>
    </dgm:pt>
    <dgm:pt modelId="{0F50EF7C-8138-4472-BD1A-5B43B7E82BD6}" type="parTrans" cxnId="{EA82F4BA-FB39-480B-9EE0-44A0C7352CC6}">
      <dgm:prSet/>
      <dgm:spPr/>
      <dgm:t>
        <a:bodyPr/>
        <a:lstStyle/>
        <a:p>
          <a:endParaRPr lang="ru-RU"/>
        </a:p>
      </dgm:t>
    </dgm:pt>
    <dgm:pt modelId="{1BB10206-1471-4AFF-B59D-6E496ECFDA47}" type="sibTrans" cxnId="{EA82F4BA-FB39-480B-9EE0-44A0C7352CC6}">
      <dgm:prSet/>
      <dgm:spPr/>
      <dgm:t>
        <a:bodyPr/>
        <a:lstStyle/>
        <a:p>
          <a:endParaRPr lang="ru-RU"/>
        </a:p>
      </dgm:t>
    </dgm:pt>
    <dgm:pt modelId="{93EA9E93-75BC-40C6-99F7-A41E5447BA82}">
      <dgm:prSet custT="1"/>
      <dgm:spPr>
        <a:solidFill>
          <a:srgbClr val="ABABDD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2800" dirty="0">
              <a:solidFill>
                <a:schemeClr val="tx1"/>
              </a:solidFill>
            </a:rPr>
            <a:t>НИКО</a:t>
          </a:r>
        </a:p>
      </dgm:t>
    </dgm:pt>
    <dgm:pt modelId="{134C2DE9-57C8-4C47-AEDB-4395250C88DE}" type="parTrans" cxnId="{6D29DEBA-CADA-47A4-B351-06B3063F85A2}">
      <dgm:prSet/>
      <dgm:spPr/>
      <dgm:t>
        <a:bodyPr/>
        <a:lstStyle/>
        <a:p>
          <a:endParaRPr lang="ru-RU"/>
        </a:p>
      </dgm:t>
    </dgm:pt>
    <dgm:pt modelId="{6AFDFA57-A90D-4142-B73F-A54BC3FC2824}" type="sibTrans" cxnId="{6D29DEBA-CADA-47A4-B351-06B3063F85A2}">
      <dgm:prSet/>
      <dgm:spPr/>
      <dgm:t>
        <a:bodyPr/>
        <a:lstStyle/>
        <a:p>
          <a:endParaRPr lang="ru-RU"/>
        </a:p>
      </dgm:t>
    </dgm:pt>
    <dgm:pt modelId="{320A15BD-4B6C-4C0C-905A-EA7A3FB59E2F}">
      <dgm:prSet custT="1"/>
      <dgm:spPr>
        <a:solidFill>
          <a:srgbClr val="ABABDD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3600" dirty="0">
              <a:solidFill>
                <a:schemeClr val="tx1"/>
              </a:solidFill>
            </a:rPr>
            <a:t>ВПР</a:t>
          </a:r>
        </a:p>
      </dgm:t>
    </dgm:pt>
    <dgm:pt modelId="{7183F8EB-DC3B-4533-890E-76D47E53B557}" type="parTrans" cxnId="{AEBA37E5-F7BD-4608-809C-A069B57C39CB}">
      <dgm:prSet/>
      <dgm:spPr/>
      <dgm:t>
        <a:bodyPr/>
        <a:lstStyle/>
        <a:p>
          <a:endParaRPr lang="ru-RU"/>
        </a:p>
      </dgm:t>
    </dgm:pt>
    <dgm:pt modelId="{2CEB95B7-F2D0-4E63-8417-E403921E2491}" type="sibTrans" cxnId="{AEBA37E5-F7BD-4608-809C-A069B57C39CB}">
      <dgm:prSet/>
      <dgm:spPr/>
      <dgm:t>
        <a:bodyPr/>
        <a:lstStyle/>
        <a:p>
          <a:endParaRPr lang="ru-RU"/>
        </a:p>
      </dgm:t>
    </dgm:pt>
    <dgm:pt modelId="{52A81331-01A5-4E16-BD2C-03964FE597F1}">
      <dgm:prSet custT="1"/>
      <dgm:spPr>
        <a:solidFill>
          <a:srgbClr val="ABABDD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2400" dirty="0">
              <a:solidFill>
                <a:schemeClr val="tx1"/>
              </a:solidFill>
            </a:rPr>
            <a:t>Тематические</a:t>
          </a:r>
          <a:r>
            <a:rPr lang="ru-RU" sz="2400" baseline="0" dirty="0">
              <a:solidFill>
                <a:schemeClr val="tx1"/>
              </a:solidFill>
            </a:rPr>
            <a:t> диктанты </a:t>
          </a:r>
          <a:endParaRPr lang="ru-RU" sz="2400" dirty="0">
            <a:solidFill>
              <a:schemeClr val="tx1"/>
            </a:solidFill>
          </a:endParaRPr>
        </a:p>
      </dgm:t>
    </dgm:pt>
    <dgm:pt modelId="{A27A8735-DA02-4611-A2F9-4A7E0186CFA5}" type="parTrans" cxnId="{09F0D731-DF10-42BE-AD47-16445E649017}">
      <dgm:prSet/>
      <dgm:spPr/>
      <dgm:t>
        <a:bodyPr/>
        <a:lstStyle/>
        <a:p>
          <a:endParaRPr lang="ru-RU"/>
        </a:p>
      </dgm:t>
    </dgm:pt>
    <dgm:pt modelId="{41A4B4CA-F2E7-4568-AFF6-27B667E1BFAC}" type="sibTrans" cxnId="{09F0D731-DF10-42BE-AD47-16445E649017}">
      <dgm:prSet/>
      <dgm:spPr/>
      <dgm:t>
        <a:bodyPr/>
        <a:lstStyle/>
        <a:p>
          <a:endParaRPr lang="ru-RU"/>
        </a:p>
      </dgm:t>
    </dgm:pt>
    <dgm:pt modelId="{2F5D123A-8DC2-4560-9901-18859B328A2D}">
      <dgm:prSet custT="1"/>
      <dgm:spPr>
        <a:solidFill>
          <a:srgbClr val="ABABDD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2000" dirty="0">
              <a:solidFill>
                <a:schemeClr val="tx1"/>
              </a:solidFill>
            </a:rPr>
            <a:t>Региональные контрольные работы </a:t>
          </a:r>
        </a:p>
      </dgm:t>
    </dgm:pt>
    <dgm:pt modelId="{129FC908-0911-4E2E-B89A-088EABF33D72}" type="parTrans" cxnId="{30347AB6-A4B7-49FD-84A0-F3EC933154A5}">
      <dgm:prSet/>
      <dgm:spPr/>
      <dgm:t>
        <a:bodyPr/>
        <a:lstStyle/>
        <a:p>
          <a:endParaRPr lang="ru-RU"/>
        </a:p>
      </dgm:t>
    </dgm:pt>
    <dgm:pt modelId="{64190729-EBA1-4B96-985D-C836382830F1}" type="sibTrans" cxnId="{30347AB6-A4B7-49FD-84A0-F3EC933154A5}">
      <dgm:prSet/>
      <dgm:spPr/>
      <dgm:t>
        <a:bodyPr/>
        <a:lstStyle/>
        <a:p>
          <a:endParaRPr lang="ru-RU"/>
        </a:p>
      </dgm:t>
    </dgm:pt>
    <dgm:pt modelId="{119A7999-DD2B-4092-9B22-3D0188A0F424}">
      <dgm:prSet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ru-RU" sz="2400" dirty="0">
              <a:solidFill>
                <a:schemeClr val="tx1"/>
              </a:solidFill>
            </a:rPr>
            <a:t>Текущий контроль   </a:t>
          </a:r>
        </a:p>
      </dgm:t>
    </dgm:pt>
    <dgm:pt modelId="{B1DBE785-4079-492C-AC47-FBB79F5DE4BC}" type="parTrans" cxnId="{22FEF611-AE69-4824-A6FA-C4A962CB0ED1}">
      <dgm:prSet/>
      <dgm:spPr/>
      <dgm:t>
        <a:bodyPr/>
        <a:lstStyle/>
        <a:p>
          <a:endParaRPr lang="ru-RU"/>
        </a:p>
      </dgm:t>
    </dgm:pt>
    <dgm:pt modelId="{A357E8C7-EEF7-4DB5-8E45-21106FE12D29}" type="sibTrans" cxnId="{22FEF611-AE69-4824-A6FA-C4A962CB0ED1}">
      <dgm:prSet/>
      <dgm:spPr/>
      <dgm:t>
        <a:bodyPr/>
        <a:lstStyle/>
        <a:p>
          <a:endParaRPr lang="ru-RU"/>
        </a:p>
      </dgm:t>
    </dgm:pt>
    <dgm:pt modelId="{A09786BA-79E2-43BB-BB3A-8FED6B5E1C00}">
      <dgm:prSet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ru-RU" sz="2400" dirty="0">
              <a:solidFill>
                <a:schemeClr val="tx1"/>
              </a:solidFill>
            </a:rPr>
            <a:t>Тематический контроль  </a:t>
          </a:r>
        </a:p>
      </dgm:t>
    </dgm:pt>
    <dgm:pt modelId="{FAB46ADF-8943-4BCE-874D-06F736D7F511}" type="parTrans" cxnId="{CBC1344C-59AC-4522-AE44-AB24DAAB16F7}">
      <dgm:prSet/>
      <dgm:spPr/>
      <dgm:t>
        <a:bodyPr/>
        <a:lstStyle/>
        <a:p>
          <a:endParaRPr lang="ru-RU"/>
        </a:p>
      </dgm:t>
    </dgm:pt>
    <dgm:pt modelId="{8233C2AF-E014-41C2-9430-8D127A8A4C86}" type="sibTrans" cxnId="{CBC1344C-59AC-4522-AE44-AB24DAAB16F7}">
      <dgm:prSet/>
      <dgm:spPr/>
      <dgm:t>
        <a:bodyPr/>
        <a:lstStyle/>
        <a:p>
          <a:endParaRPr lang="ru-RU"/>
        </a:p>
      </dgm:t>
    </dgm:pt>
    <dgm:pt modelId="{238BC5D6-9935-423B-B7DF-3EF8CE3CD043}">
      <dgm:prSet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ru-RU" sz="2400" dirty="0">
              <a:solidFill>
                <a:schemeClr val="tx1"/>
              </a:solidFill>
            </a:rPr>
            <a:t>Итоговый контроль </a:t>
          </a:r>
        </a:p>
      </dgm:t>
    </dgm:pt>
    <dgm:pt modelId="{EA0039D3-6F66-4A70-A8EF-4DA16B36E8C0}" type="parTrans" cxnId="{6BB3097D-3596-4257-8CCB-F45005E66479}">
      <dgm:prSet/>
      <dgm:spPr/>
      <dgm:t>
        <a:bodyPr/>
        <a:lstStyle/>
        <a:p>
          <a:endParaRPr lang="ru-RU"/>
        </a:p>
      </dgm:t>
    </dgm:pt>
    <dgm:pt modelId="{DB3BA3FE-91E5-42FD-BEB2-9A88194FE886}" type="sibTrans" cxnId="{6BB3097D-3596-4257-8CCB-F45005E66479}">
      <dgm:prSet/>
      <dgm:spPr/>
      <dgm:t>
        <a:bodyPr/>
        <a:lstStyle/>
        <a:p>
          <a:endParaRPr lang="ru-RU"/>
        </a:p>
      </dgm:t>
    </dgm:pt>
    <dgm:pt modelId="{F3F2A78D-EC84-4A88-8759-4F593137FC9B}" type="pres">
      <dgm:prSet presAssocID="{D8076A48-7C71-451E-9151-4EA285F07EFC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F1439999-4940-424B-B539-1558C65FD6B0}" type="pres">
      <dgm:prSet presAssocID="{1CA0DC72-F694-40BB-96DC-7A38E553CABB}" presName="hierRoot1" presStyleCnt="0">
        <dgm:presLayoutVars>
          <dgm:hierBranch val="init"/>
        </dgm:presLayoutVars>
      </dgm:prSet>
      <dgm:spPr/>
    </dgm:pt>
    <dgm:pt modelId="{91EAC5FA-6AE5-492C-9CB4-0D9A3710E897}" type="pres">
      <dgm:prSet presAssocID="{1CA0DC72-F694-40BB-96DC-7A38E553CABB}" presName="rootComposite1" presStyleCnt="0"/>
      <dgm:spPr/>
    </dgm:pt>
    <dgm:pt modelId="{7CD72F38-EC10-4745-9712-B0F95C682C31}" type="pres">
      <dgm:prSet presAssocID="{1CA0DC72-F694-40BB-96DC-7A38E553CABB}" presName="rootText1" presStyleLbl="node0" presStyleIdx="0" presStyleCnt="1" custScaleX="167358">
        <dgm:presLayoutVars>
          <dgm:chPref val="3"/>
        </dgm:presLayoutVars>
      </dgm:prSet>
      <dgm:spPr/>
    </dgm:pt>
    <dgm:pt modelId="{3D64FA77-1F22-4292-A403-3B84697326F7}" type="pres">
      <dgm:prSet presAssocID="{1CA0DC72-F694-40BB-96DC-7A38E553CABB}" presName="rootConnector1" presStyleLbl="node1" presStyleIdx="0" presStyleCnt="0"/>
      <dgm:spPr/>
    </dgm:pt>
    <dgm:pt modelId="{C33602D8-C99E-4530-B561-967DFFB8B754}" type="pres">
      <dgm:prSet presAssocID="{1CA0DC72-F694-40BB-96DC-7A38E553CABB}" presName="hierChild2" presStyleCnt="0"/>
      <dgm:spPr/>
    </dgm:pt>
    <dgm:pt modelId="{1E0FFAD6-D821-4F6C-AFFB-19F56B884D87}" type="pres">
      <dgm:prSet presAssocID="{F2CC3D4A-5449-4C93-A4E0-690577D0E4DB}" presName="Name37" presStyleLbl="parChTrans1D2" presStyleIdx="0" presStyleCnt="2"/>
      <dgm:spPr/>
    </dgm:pt>
    <dgm:pt modelId="{E5AE0249-B395-4F64-86E5-4BD9EDA77186}" type="pres">
      <dgm:prSet presAssocID="{83B44567-BB9B-4CFE-A523-D9A70B9770E9}" presName="hierRoot2" presStyleCnt="0">
        <dgm:presLayoutVars>
          <dgm:hierBranch val="init"/>
        </dgm:presLayoutVars>
      </dgm:prSet>
      <dgm:spPr/>
    </dgm:pt>
    <dgm:pt modelId="{262679C6-5A6D-41FB-B210-753946499F50}" type="pres">
      <dgm:prSet presAssocID="{83B44567-BB9B-4CFE-A523-D9A70B9770E9}" presName="rootComposite" presStyleCnt="0"/>
      <dgm:spPr/>
    </dgm:pt>
    <dgm:pt modelId="{8C6C8FB7-A71A-4778-8450-A395ED6726BA}" type="pres">
      <dgm:prSet presAssocID="{83B44567-BB9B-4CFE-A523-D9A70B9770E9}" presName="rootText" presStyleLbl="node2" presStyleIdx="0" presStyleCnt="2" custScaleX="185541">
        <dgm:presLayoutVars>
          <dgm:chPref val="3"/>
        </dgm:presLayoutVars>
      </dgm:prSet>
      <dgm:spPr/>
    </dgm:pt>
    <dgm:pt modelId="{B4C28BFF-49FE-4A3D-AFE3-908BF4C9BA63}" type="pres">
      <dgm:prSet presAssocID="{83B44567-BB9B-4CFE-A523-D9A70B9770E9}" presName="rootConnector" presStyleLbl="node2" presStyleIdx="0" presStyleCnt="2"/>
      <dgm:spPr/>
    </dgm:pt>
    <dgm:pt modelId="{ABDA7BFC-22DB-4BDE-9976-39BBD5FAD621}" type="pres">
      <dgm:prSet presAssocID="{83B44567-BB9B-4CFE-A523-D9A70B9770E9}" presName="hierChild4" presStyleCnt="0"/>
      <dgm:spPr/>
    </dgm:pt>
    <dgm:pt modelId="{C8E78DC8-6539-4AB6-BA6F-C6EF734BF7B2}" type="pres">
      <dgm:prSet presAssocID="{B1DBE785-4079-492C-AC47-FBB79F5DE4BC}" presName="Name37" presStyleLbl="parChTrans1D3" presStyleIdx="0" presStyleCnt="7"/>
      <dgm:spPr/>
    </dgm:pt>
    <dgm:pt modelId="{BDA5A5C5-6A4F-40B8-8474-BDFAE77EAA5D}" type="pres">
      <dgm:prSet presAssocID="{119A7999-DD2B-4092-9B22-3D0188A0F424}" presName="hierRoot2" presStyleCnt="0">
        <dgm:presLayoutVars>
          <dgm:hierBranch val="init"/>
        </dgm:presLayoutVars>
      </dgm:prSet>
      <dgm:spPr/>
    </dgm:pt>
    <dgm:pt modelId="{89159B68-A0CE-4A82-BA45-31052C2F9AD6}" type="pres">
      <dgm:prSet presAssocID="{119A7999-DD2B-4092-9B22-3D0188A0F424}" presName="rootComposite" presStyleCnt="0"/>
      <dgm:spPr/>
    </dgm:pt>
    <dgm:pt modelId="{BF90F1BC-36D1-41B8-8D4D-EE2F6624BD22}" type="pres">
      <dgm:prSet presAssocID="{119A7999-DD2B-4092-9B22-3D0188A0F424}" presName="rootText" presStyleLbl="node3" presStyleIdx="0" presStyleCnt="7" custScaleX="164461">
        <dgm:presLayoutVars>
          <dgm:chPref val="3"/>
        </dgm:presLayoutVars>
      </dgm:prSet>
      <dgm:spPr/>
    </dgm:pt>
    <dgm:pt modelId="{D69E75F1-AC72-493A-AB76-60A533FD9159}" type="pres">
      <dgm:prSet presAssocID="{119A7999-DD2B-4092-9B22-3D0188A0F424}" presName="rootConnector" presStyleLbl="node3" presStyleIdx="0" presStyleCnt="7"/>
      <dgm:spPr/>
    </dgm:pt>
    <dgm:pt modelId="{65BA0F06-3F79-429D-A30D-7BBFEF43E480}" type="pres">
      <dgm:prSet presAssocID="{119A7999-DD2B-4092-9B22-3D0188A0F424}" presName="hierChild4" presStyleCnt="0"/>
      <dgm:spPr/>
    </dgm:pt>
    <dgm:pt modelId="{7311E03C-AE4E-4BC1-ABA5-6C08FF6BAD47}" type="pres">
      <dgm:prSet presAssocID="{119A7999-DD2B-4092-9B22-3D0188A0F424}" presName="hierChild5" presStyleCnt="0"/>
      <dgm:spPr/>
    </dgm:pt>
    <dgm:pt modelId="{F1EB4837-560C-4032-AF11-1777B2E15349}" type="pres">
      <dgm:prSet presAssocID="{FAB46ADF-8943-4BCE-874D-06F736D7F511}" presName="Name37" presStyleLbl="parChTrans1D3" presStyleIdx="1" presStyleCnt="7"/>
      <dgm:spPr/>
    </dgm:pt>
    <dgm:pt modelId="{CC73DFC1-4089-44B5-BDFC-2588D0F88A0D}" type="pres">
      <dgm:prSet presAssocID="{A09786BA-79E2-43BB-BB3A-8FED6B5E1C00}" presName="hierRoot2" presStyleCnt="0">
        <dgm:presLayoutVars>
          <dgm:hierBranch val="init"/>
        </dgm:presLayoutVars>
      </dgm:prSet>
      <dgm:spPr/>
    </dgm:pt>
    <dgm:pt modelId="{1B29CFC6-33F5-4AFE-8CF8-24948AF08A90}" type="pres">
      <dgm:prSet presAssocID="{A09786BA-79E2-43BB-BB3A-8FED6B5E1C00}" presName="rootComposite" presStyleCnt="0"/>
      <dgm:spPr/>
    </dgm:pt>
    <dgm:pt modelId="{FE4EE777-E657-4BA3-9339-642858C13E33}" type="pres">
      <dgm:prSet presAssocID="{A09786BA-79E2-43BB-BB3A-8FED6B5E1C00}" presName="rootText" presStyleLbl="node3" presStyleIdx="1" presStyleCnt="7" custScaleX="164461">
        <dgm:presLayoutVars>
          <dgm:chPref val="3"/>
        </dgm:presLayoutVars>
      </dgm:prSet>
      <dgm:spPr/>
    </dgm:pt>
    <dgm:pt modelId="{EEEFF7AD-F509-470D-9854-F0119EB8F92E}" type="pres">
      <dgm:prSet presAssocID="{A09786BA-79E2-43BB-BB3A-8FED6B5E1C00}" presName="rootConnector" presStyleLbl="node3" presStyleIdx="1" presStyleCnt="7"/>
      <dgm:spPr/>
    </dgm:pt>
    <dgm:pt modelId="{17FA5FEE-778F-4B20-AFE5-CAB469F4486E}" type="pres">
      <dgm:prSet presAssocID="{A09786BA-79E2-43BB-BB3A-8FED6B5E1C00}" presName="hierChild4" presStyleCnt="0"/>
      <dgm:spPr/>
    </dgm:pt>
    <dgm:pt modelId="{C7AD7F3A-E4CA-42C4-A45C-2BB727A65173}" type="pres">
      <dgm:prSet presAssocID="{A09786BA-79E2-43BB-BB3A-8FED6B5E1C00}" presName="hierChild5" presStyleCnt="0"/>
      <dgm:spPr/>
    </dgm:pt>
    <dgm:pt modelId="{6A92C5CB-995A-407A-A1B3-DA463F5DD687}" type="pres">
      <dgm:prSet presAssocID="{EA0039D3-6F66-4A70-A8EF-4DA16B36E8C0}" presName="Name37" presStyleLbl="parChTrans1D3" presStyleIdx="2" presStyleCnt="7"/>
      <dgm:spPr/>
    </dgm:pt>
    <dgm:pt modelId="{78FA1E11-57BE-46BB-8F0B-2177FE00437A}" type="pres">
      <dgm:prSet presAssocID="{238BC5D6-9935-423B-B7DF-3EF8CE3CD043}" presName="hierRoot2" presStyleCnt="0">
        <dgm:presLayoutVars>
          <dgm:hierBranch val="init"/>
        </dgm:presLayoutVars>
      </dgm:prSet>
      <dgm:spPr/>
    </dgm:pt>
    <dgm:pt modelId="{F979F7B5-D5A4-4034-ABCC-DFD88F13F95C}" type="pres">
      <dgm:prSet presAssocID="{238BC5D6-9935-423B-B7DF-3EF8CE3CD043}" presName="rootComposite" presStyleCnt="0"/>
      <dgm:spPr/>
    </dgm:pt>
    <dgm:pt modelId="{2A3FC08A-DC38-4246-B721-0E3EA0A06D08}" type="pres">
      <dgm:prSet presAssocID="{238BC5D6-9935-423B-B7DF-3EF8CE3CD043}" presName="rootText" presStyleLbl="node3" presStyleIdx="2" presStyleCnt="7" custScaleX="164461">
        <dgm:presLayoutVars>
          <dgm:chPref val="3"/>
        </dgm:presLayoutVars>
      </dgm:prSet>
      <dgm:spPr/>
    </dgm:pt>
    <dgm:pt modelId="{B3279CB2-BE20-4188-A744-D451D58933C3}" type="pres">
      <dgm:prSet presAssocID="{238BC5D6-9935-423B-B7DF-3EF8CE3CD043}" presName="rootConnector" presStyleLbl="node3" presStyleIdx="2" presStyleCnt="7"/>
      <dgm:spPr/>
    </dgm:pt>
    <dgm:pt modelId="{BE52AB3E-A8D9-4B0A-BD02-6637B200E823}" type="pres">
      <dgm:prSet presAssocID="{238BC5D6-9935-423B-B7DF-3EF8CE3CD043}" presName="hierChild4" presStyleCnt="0"/>
      <dgm:spPr/>
    </dgm:pt>
    <dgm:pt modelId="{0E741A5C-6480-465D-9EC8-A27F6118938B}" type="pres">
      <dgm:prSet presAssocID="{238BC5D6-9935-423B-B7DF-3EF8CE3CD043}" presName="hierChild5" presStyleCnt="0"/>
      <dgm:spPr/>
    </dgm:pt>
    <dgm:pt modelId="{50B80DA1-0F6C-4E94-8D72-47BDC5FEE966}" type="pres">
      <dgm:prSet presAssocID="{83B44567-BB9B-4CFE-A523-D9A70B9770E9}" presName="hierChild5" presStyleCnt="0"/>
      <dgm:spPr/>
    </dgm:pt>
    <dgm:pt modelId="{78FEF888-91B3-4CD8-979F-0EA5D12E4DBD}" type="pres">
      <dgm:prSet presAssocID="{0F50EF7C-8138-4472-BD1A-5B43B7E82BD6}" presName="Name37" presStyleLbl="parChTrans1D2" presStyleIdx="1" presStyleCnt="2"/>
      <dgm:spPr/>
    </dgm:pt>
    <dgm:pt modelId="{FEB310E6-E694-4F68-9E75-5DB0412FB2F0}" type="pres">
      <dgm:prSet presAssocID="{6383DFBA-F6C7-48C7-84DB-038F6D221922}" presName="hierRoot2" presStyleCnt="0">
        <dgm:presLayoutVars>
          <dgm:hierBranch val="init"/>
        </dgm:presLayoutVars>
      </dgm:prSet>
      <dgm:spPr/>
    </dgm:pt>
    <dgm:pt modelId="{B9E84478-7F80-47ED-8BA8-8C6535E48DDF}" type="pres">
      <dgm:prSet presAssocID="{6383DFBA-F6C7-48C7-84DB-038F6D221922}" presName="rootComposite" presStyleCnt="0"/>
      <dgm:spPr/>
    </dgm:pt>
    <dgm:pt modelId="{45E5FE00-AA4B-4EDE-B65F-93A520DD04BC}" type="pres">
      <dgm:prSet presAssocID="{6383DFBA-F6C7-48C7-84DB-038F6D221922}" presName="rootText" presStyleLbl="node2" presStyleIdx="1" presStyleCnt="2" custScaleX="167358">
        <dgm:presLayoutVars>
          <dgm:chPref val="3"/>
        </dgm:presLayoutVars>
      </dgm:prSet>
      <dgm:spPr/>
    </dgm:pt>
    <dgm:pt modelId="{6E099768-C3C6-437E-8426-13D041A9A136}" type="pres">
      <dgm:prSet presAssocID="{6383DFBA-F6C7-48C7-84DB-038F6D221922}" presName="rootConnector" presStyleLbl="node2" presStyleIdx="1" presStyleCnt="2"/>
      <dgm:spPr/>
    </dgm:pt>
    <dgm:pt modelId="{B29A561C-2AED-42C6-8B49-B2390E1E535B}" type="pres">
      <dgm:prSet presAssocID="{6383DFBA-F6C7-48C7-84DB-038F6D221922}" presName="hierChild4" presStyleCnt="0"/>
      <dgm:spPr/>
    </dgm:pt>
    <dgm:pt modelId="{14CB0436-5B91-4A26-9C49-1E1AFFD03570}" type="pres">
      <dgm:prSet presAssocID="{134C2DE9-57C8-4C47-AEDB-4395250C88DE}" presName="Name37" presStyleLbl="parChTrans1D3" presStyleIdx="3" presStyleCnt="7"/>
      <dgm:spPr/>
    </dgm:pt>
    <dgm:pt modelId="{78A59A62-1A40-4C0E-930C-1961A1D6A2B2}" type="pres">
      <dgm:prSet presAssocID="{93EA9E93-75BC-40C6-99F7-A41E5447BA82}" presName="hierRoot2" presStyleCnt="0">
        <dgm:presLayoutVars>
          <dgm:hierBranch val="init"/>
        </dgm:presLayoutVars>
      </dgm:prSet>
      <dgm:spPr/>
    </dgm:pt>
    <dgm:pt modelId="{71EDAB50-8728-4B7A-9036-EDB4F34F8FFB}" type="pres">
      <dgm:prSet presAssocID="{93EA9E93-75BC-40C6-99F7-A41E5447BA82}" presName="rootComposite" presStyleCnt="0"/>
      <dgm:spPr/>
    </dgm:pt>
    <dgm:pt modelId="{B60E9B29-5F70-439F-B697-8FFD0577B15B}" type="pres">
      <dgm:prSet presAssocID="{93EA9E93-75BC-40C6-99F7-A41E5447BA82}" presName="rootText" presStyleLbl="node3" presStyleIdx="3" presStyleCnt="7" custScaleX="167358">
        <dgm:presLayoutVars>
          <dgm:chPref val="3"/>
        </dgm:presLayoutVars>
      </dgm:prSet>
      <dgm:spPr/>
    </dgm:pt>
    <dgm:pt modelId="{BDA501D2-07CB-4D80-B0E6-4CE37D9AEB03}" type="pres">
      <dgm:prSet presAssocID="{93EA9E93-75BC-40C6-99F7-A41E5447BA82}" presName="rootConnector" presStyleLbl="node3" presStyleIdx="3" presStyleCnt="7"/>
      <dgm:spPr/>
    </dgm:pt>
    <dgm:pt modelId="{4B70BC41-168E-4FFD-83D3-E2EEAE41FC45}" type="pres">
      <dgm:prSet presAssocID="{93EA9E93-75BC-40C6-99F7-A41E5447BA82}" presName="hierChild4" presStyleCnt="0"/>
      <dgm:spPr/>
    </dgm:pt>
    <dgm:pt modelId="{BBB0300D-8B57-4525-8CE0-E795FDCEE4B2}" type="pres">
      <dgm:prSet presAssocID="{93EA9E93-75BC-40C6-99F7-A41E5447BA82}" presName="hierChild5" presStyleCnt="0"/>
      <dgm:spPr/>
    </dgm:pt>
    <dgm:pt modelId="{EC020BC3-BF25-43A2-969F-ED957C96FC20}" type="pres">
      <dgm:prSet presAssocID="{7183F8EB-DC3B-4533-890E-76D47E53B557}" presName="Name37" presStyleLbl="parChTrans1D3" presStyleIdx="4" presStyleCnt="7"/>
      <dgm:spPr/>
    </dgm:pt>
    <dgm:pt modelId="{9124D7CB-FCEE-4DEF-B67E-13A99B91683B}" type="pres">
      <dgm:prSet presAssocID="{320A15BD-4B6C-4C0C-905A-EA7A3FB59E2F}" presName="hierRoot2" presStyleCnt="0">
        <dgm:presLayoutVars>
          <dgm:hierBranch val="init"/>
        </dgm:presLayoutVars>
      </dgm:prSet>
      <dgm:spPr/>
    </dgm:pt>
    <dgm:pt modelId="{904B875B-DC47-4080-9E59-41577AD3F299}" type="pres">
      <dgm:prSet presAssocID="{320A15BD-4B6C-4C0C-905A-EA7A3FB59E2F}" presName="rootComposite" presStyleCnt="0"/>
      <dgm:spPr/>
    </dgm:pt>
    <dgm:pt modelId="{353D768F-0D88-4295-98D4-6F2EE703F395}" type="pres">
      <dgm:prSet presAssocID="{320A15BD-4B6C-4C0C-905A-EA7A3FB59E2F}" presName="rootText" presStyleLbl="node3" presStyleIdx="4" presStyleCnt="7" custScaleX="167358">
        <dgm:presLayoutVars>
          <dgm:chPref val="3"/>
        </dgm:presLayoutVars>
      </dgm:prSet>
      <dgm:spPr/>
    </dgm:pt>
    <dgm:pt modelId="{E9F70DF6-C9AD-4F35-B548-0B03B4ABC549}" type="pres">
      <dgm:prSet presAssocID="{320A15BD-4B6C-4C0C-905A-EA7A3FB59E2F}" presName="rootConnector" presStyleLbl="node3" presStyleIdx="4" presStyleCnt="7"/>
      <dgm:spPr/>
    </dgm:pt>
    <dgm:pt modelId="{07A822FA-A4F0-4229-B388-6F60BCD29791}" type="pres">
      <dgm:prSet presAssocID="{320A15BD-4B6C-4C0C-905A-EA7A3FB59E2F}" presName="hierChild4" presStyleCnt="0"/>
      <dgm:spPr/>
    </dgm:pt>
    <dgm:pt modelId="{8308EE1E-45D0-4C56-83DA-A8ED648ABBED}" type="pres">
      <dgm:prSet presAssocID="{320A15BD-4B6C-4C0C-905A-EA7A3FB59E2F}" presName="hierChild5" presStyleCnt="0"/>
      <dgm:spPr/>
    </dgm:pt>
    <dgm:pt modelId="{6A63CE53-7A93-4B75-B68E-939309640EB4}" type="pres">
      <dgm:prSet presAssocID="{A27A8735-DA02-4611-A2F9-4A7E0186CFA5}" presName="Name37" presStyleLbl="parChTrans1D3" presStyleIdx="5" presStyleCnt="7"/>
      <dgm:spPr/>
    </dgm:pt>
    <dgm:pt modelId="{B1D104E0-1623-4B53-966B-3A0BE72B1948}" type="pres">
      <dgm:prSet presAssocID="{52A81331-01A5-4E16-BD2C-03964FE597F1}" presName="hierRoot2" presStyleCnt="0">
        <dgm:presLayoutVars>
          <dgm:hierBranch val="init"/>
        </dgm:presLayoutVars>
      </dgm:prSet>
      <dgm:spPr/>
    </dgm:pt>
    <dgm:pt modelId="{7FFEC814-1309-47CB-9E81-CC892190D39F}" type="pres">
      <dgm:prSet presAssocID="{52A81331-01A5-4E16-BD2C-03964FE597F1}" presName="rootComposite" presStyleCnt="0"/>
      <dgm:spPr/>
    </dgm:pt>
    <dgm:pt modelId="{8A439D46-C40A-40C8-A883-63686976A02B}" type="pres">
      <dgm:prSet presAssocID="{52A81331-01A5-4E16-BD2C-03964FE597F1}" presName="rootText" presStyleLbl="node3" presStyleIdx="5" presStyleCnt="7" custScaleX="167358">
        <dgm:presLayoutVars>
          <dgm:chPref val="3"/>
        </dgm:presLayoutVars>
      </dgm:prSet>
      <dgm:spPr/>
    </dgm:pt>
    <dgm:pt modelId="{ED53EF7B-63EA-40F2-BA82-135EFB6FCB37}" type="pres">
      <dgm:prSet presAssocID="{52A81331-01A5-4E16-BD2C-03964FE597F1}" presName="rootConnector" presStyleLbl="node3" presStyleIdx="5" presStyleCnt="7"/>
      <dgm:spPr/>
    </dgm:pt>
    <dgm:pt modelId="{88BC99F0-F603-4DEA-9E17-466D29162A83}" type="pres">
      <dgm:prSet presAssocID="{52A81331-01A5-4E16-BD2C-03964FE597F1}" presName="hierChild4" presStyleCnt="0"/>
      <dgm:spPr/>
    </dgm:pt>
    <dgm:pt modelId="{E9E6A79F-B293-49C4-BA77-7A9F6318B6F1}" type="pres">
      <dgm:prSet presAssocID="{52A81331-01A5-4E16-BD2C-03964FE597F1}" presName="hierChild5" presStyleCnt="0"/>
      <dgm:spPr/>
    </dgm:pt>
    <dgm:pt modelId="{EDA39EBC-E47F-4968-A34C-897715195772}" type="pres">
      <dgm:prSet presAssocID="{129FC908-0911-4E2E-B89A-088EABF33D72}" presName="Name37" presStyleLbl="parChTrans1D3" presStyleIdx="6" presStyleCnt="7"/>
      <dgm:spPr/>
    </dgm:pt>
    <dgm:pt modelId="{937500A7-A79C-4CDC-ADEF-43E8B6C75AC8}" type="pres">
      <dgm:prSet presAssocID="{2F5D123A-8DC2-4560-9901-18859B328A2D}" presName="hierRoot2" presStyleCnt="0">
        <dgm:presLayoutVars>
          <dgm:hierBranch val="init"/>
        </dgm:presLayoutVars>
      </dgm:prSet>
      <dgm:spPr/>
    </dgm:pt>
    <dgm:pt modelId="{6E26A310-5F1C-41E2-9C07-4B092DFBCB3D}" type="pres">
      <dgm:prSet presAssocID="{2F5D123A-8DC2-4560-9901-18859B328A2D}" presName="rootComposite" presStyleCnt="0"/>
      <dgm:spPr/>
    </dgm:pt>
    <dgm:pt modelId="{A9DAA1F0-192A-4161-8CBF-626E51575B6B}" type="pres">
      <dgm:prSet presAssocID="{2F5D123A-8DC2-4560-9901-18859B328A2D}" presName="rootText" presStyleLbl="node3" presStyleIdx="6" presStyleCnt="7" custScaleX="169545">
        <dgm:presLayoutVars>
          <dgm:chPref val="3"/>
        </dgm:presLayoutVars>
      </dgm:prSet>
      <dgm:spPr/>
    </dgm:pt>
    <dgm:pt modelId="{CAA284FD-431B-4FFE-BFB1-E6D75532C1F8}" type="pres">
      <dgm:prSet presAssocID="{2F5D123A-8DC2-4560-9901-18859B328A2D}" presName="rootConnector" presStyleLbl="node3" presStyleIdx="6" presStyleCnt="7"/>
      <dgm:spPr/>
    </dgm:pt>
    <dgm:pt modelId="{08BB2511-ED76-440B-BB6D-F35CBD55CD01}" type="pres">
      <dgm:prSet presAssocID="{2F5D123A-8DC2-4560-9901-18859B328A2D}" presName="hierChild4" presStyleCnt="0"/>
      <dgm:spPr/>
    </dgm:pt>
    <dgm:pt modelId="{B63E243E-D4D2-4645-8107-DF6150A38930}" type="pres">
      <dgm:prSet presAssocID="{2F5D123A-8DC2-4560-9901-18859B328A2D}" presName="hierChild5" presStyleCnt="0"/>
      <dgm:spPr/>
    </dgm:pt>
    <dgm:pt modelId="{C280A127-BEE5-4B59-B999-CADF73DCCA17}" type="pres">
      <dgm:prSet presAssocID="{6383DFBA-F6C7-48C7-84DB-038F6D221922}" presName="hierChild5" presStyleCnt="0"/>
      <dgm:spPr/>
    </dgm:pt>
    <dgm:pt modelId="{7C7124C1-7EF2-49A8-B770-6C76709E65AE}" type="pres">
      <dgm:prSet presAssocID="{1CA0DC72-F694-40BB-96DC-7A38E553CABB}" presName="hierChild3" presStyleCnt="0"/>
      <dgm:spPr/>
    </dgm:pt>
  </dgm:ptLst>
  <dgm:cxnLst>
    <dgm:cxn modelId="{2F6DCA03-3E7A-4DD5-B84B-9FC94D7C5655}" type="presOf" srcId="{83B44567-BB9B-4CFE-A523-D9A70B9770E9}" destId="{B4C28BFF-49FE-4A3D-AFE3-908BF4C9BA63}" srcOrd="1" destOrd="0" presId="urn:microsoft.com/office/officeart/2005/8/layout/orgChart1"/>
    <dgm:cxn modelId="{777D8906-817C-48C2-8C11-616815B6B5C2}" type="presOf" srcId="{238BC5D6-9935-423B-B7DF-3EF8CE3CD043}" destId="{2A3FC08A-DC38-4246-B721-0E3EA0A06D08}" srcOrd="0" destOrd="0" presId="urn:microsoft.com/office/officeart/2005/8/layout/orgChart1"/>
    <dgm:cxn modelId="{AF509B08-333C-43B8-8F10-DA6CD6C069A9}" type="presOf" srcId="{83B44567-BB9B-4CFE-A523-D9A70B9770E9}" destId="{8C6C8FB7-A71A-4778-8450-A395ED6726BA}" srcOrd="0" destOrd="0" presId="urn:microsoft.com/office/officeart/2005/8/layout/orgChart1"/>
    <dgm:cxn modelId="{22FEF611-AE69-4824-A6FA-C4A962CB0ED1}" srcId="{83B44567-BB9B-4CFE-A523-D9A70B9770E9}" destId="{119A7999-DD2B-4092-9B22-3D0188A0F424}" srcOrd="0" destOrd="0" parTransId="{B1DBE785-4079-492C-AC47-FBB79F5DE4BC}" sibTransId="{A357E8C7-EEF7-4DB5-8E45-21106FE12D29}"/>
    <dgm:cxn modelId="{13AF6F17-BBA4-4A21-AB77-B50C1E3FD010}" type="presOf" srcId="{2F5D123A-8DC2-4560-9901-18859B328A2D}" destId="{CAA284FD-431B-4FFE-BFB1-E6D75532C1F8}" srcOrd="1" destOrd="0" presId="urn:microsoft.com/office/officeart/2005/8/layout/orgChart1"/>
    <dgm:cxn modelId="{57365C20-A36C-44AD-B6ED-BBAC59511B5F}" type="presOf" srcId="{D8076A48-7C71-451E-9151-4EA285F07EFC}" destId="{F3F2A78D-EC84-4A88-8759-4F593137FC9B}" srcOrd="0" destOrd="0" presId="urn:microsoft.com/office/officeart/2005/8/layout/orgChart1"/>
    <dgm:cxn modelId="{340B1825-C223-4BB6-A20D-69B6F8DB5DE7}" srcId="{D8076A48-7C71-451E-9151-4EA285F07EFC}" destId="{1CA0DC72-F694-40BB-96DC-7A38E553CABB}" srcOrd="0" destOrd="0" parTransId="{E122C3A1-CD6A-4388-BC3F-CC36AE865712}" sibTransId="{97BC72FB-8114-44AE-A4DE-AF0358C98429}"/>
    <dgm:cxn modelId="{09F0D731-DF10-42BE-AD47-16445E649017}" srcId="{6383DFBA-F6C7-48C7-84DB-038F6D221922}" destId="{52A81331-01A5-4E16-BD2C-03964FE597F1}" srcOrd="2" destOrd="0" parTransId="{A27A8735-DA02-4611-A2F9-4A7E0186CFA5}" sibTransId="{41A4B4CA-F2E7-4568-AFF6-27B667E1BFAC}"/>
    <dgm:cxn modelId="{99329832-C705-46B8-9C27-DCB91453D425}" type="presOf" srcId="{52A81331-01A5-4E16-BD2C-03964FE597F1}" destId="{ED53EF7B-63EA-40F2-BA82-135EFB6FCB37}" srcOrd="1" destOrd="0" presId="urn:microsoft.com/office/officeart/2005/8/layout/orgChart1"/>
    <dgm:cxn modelId="{01B41839-BBF5-4C4C-A4E0-E05F2374AE51}" type="presOf" srcId="{320A15BD-4B6C-4C0C-905A-EA7A3FB59E2F}" destId="{353D768F-0D88-4295-98D4-6F2EE703F395}" srcOrd="0" destOrd="0" presId="urn:microsoft.com/office/officeart/2005/8/layout/orgChart1"/>
    <dgm:cxn modelId="{A4C7433D-1520-4A5E-9240-1EF86CC56EDD}" type="presOf" srcId="{0F50EF7C-8138-4472-BD1A-5B43B7E82BD6}" destId="{78FEF888-91B3-4CD8-979F-0EA5D12E4DBD}" srcOrd="0" destOrd="0" presId="urn:microsoft.com/office/officeart/2005/8/layout/orgChart1"/>
    <dgm:cxn modelId="{E30BED5B-ADAA-4F6F-9760-9A53196098E6}" type="presOf" srcId="{A09786BA-79E2-43BB-BB3A-8FED6B5E1C00}" destId="{EEEFF7AD-F509-470D-9854-F0119EB8F92E}" srcOrd="1" destOrd="0" presId="urn:microsoft.com/office/officeart/2005/8/layout/orgChart1"/>
    <dgm:cxn modelId="{D4E2AD5D-F117-4377-B46B-001791396080}" type="presOf" srcId="{6383DFBA-F6C7-48C7-84DB-038F6D221922}" destId="{45E5FE00-AA4B-4EDE-B65F-93A520DD04BC}" srcOrd="0" destOrd="0" presId="urn:microsoft.com/office/officeart/2005/8/layout/orgChart1"/>
    <dgm:cxn modelId="{BF4B3169-5B78-4E2F-A6CF-14DCF1C9871E}" type="presOf" srcId="{119A7999-DD2B-4092-9B22-3D0188A0F424}" destId="{D69E75F1-AC72-493A-AB76-60A533FD9159}" srcOrd="1" destOrd="0" presId="urn:microsoft.com/office/officeart/2005/8/layout/orgChart1"/>
    <dgm:cxn modelId="{CBC1344C-59AC-4522-AE44-AB24DAAB16F7}" srcId="{83B44567-BB9B-4CFE-A523-D9A70B9770E9}" destId="{A09786BA-79E2-43BB-BB3A-8FED6B5E1C00}" srcOrd="1" destOrd="0" parTransId="{FAB46ADF-8943-4BCE-874D-06F736D7F511}" sibTransId="{8233C2AF-E014-41C2-9430-8D127A8A4C86}"/>
    <dgm:cxn modelId="{C7E55752-54ED-4E1A-B5C2-E54FB7BF73E6}" type="presOf" srcId="{1CA0DC72-F694-40BB-96DC-7A38E553CABB}" destId="{3D64FA77-1F22-4292-A403-3B84697326F7}" srcOrd="1" destOrd="0" presId="urn:microsoft.com/office/officeart/2005/8/layout/orgChart1"/>
    <dgm:cxn modelId="{57BA8073-EF4E-4FEF-AD90-B163420421B7}" srcId="{1CA0DC72-F694-40BB-96DC-7A38E553CABB}" destId="{83B44567-BB9B-4CFE-A523-D9A70B9770E9}" srcOrd="0" destOrd="0" parTransId="{F2CC3D4A-5449-4C93-A4E0-690577D0E4DB}" sibTransId="{FC2D6A21-4067-4AA0-991D-B45842521615}"/>
    <dgm:cxn modelId="{1D5A4275-8D26-4155-82C9-916E8C40C9D9}" type="presOf" srcId="{B1DBE785-4079-492C-AC47-FBB79F5DE4BC}" destId="{C8E78DC8-6539-4AB6-BA6F-C6EF734BF7B2}" srcOrd="0" destOrd="0" presId="urn:microsoft.com/office/officeart/2005/8/layout/orgChart1"/>
    <dgm:cxn modelId="{F9B7F176-E599-43E9-9D89-FA147A400FC1}" type="presOf" srcId="{6383DFBA-F6C7-48C7-84DB-038F6D221922}" destId="{6E099768-C3C6-437E-8426-13D041A9A136}" srcOrd="1" destOrd="0" presId="urn:microsoft.com/office/officeart/2005/8/layout/orgChart1"/>
    <dgm:cxn modelId="{7C780059-791D-4634-9768-5EF2407EE1AC}" type="presOf" srcId="{7183F8EB-DC3B-4533-890E-76D47E53B557}" destId="{EC020BC3-BF25-43A2-969F-ED957C96FC20}" srcOrd="0" destOrd="0" presId="urn:microsoft.com/office/officeart/2005/8/layout/orgChart1"/>
    <dgm:cxn modelId="{2312595A-4BA7-445D-9D97-17E988391AA6}" type="presOf" srcId="{2F5D123A-8DC2-4560-9901-18859B328A2D}" destId="{A9DAA1F0-192A-4161-8CBF-626E51575B6B}" srcOrd="0" destOrd="0" presId="urn:microsoft.com/office/officeart/2005/8/layout/orgChart1"/>
    <dgm:cxn modelId="{6BB3097D-3596-4257-8CCB-F45005E66479}" srcId="{83B44567-BB9B-4CFE-A523-D9A70B9770E9}" destId="{238BC5D6-9935-423B-B7DF-3EF8CE3CD043}" srcOrd="2" destOrd="0" parTransId="{EA0039D3-6F66-4A70-A8EF-4DA16B36E8C0}" sibTransId="{DB3BA3FE-91E5-42FD-BEB2-9A88194FE886}"/>
    <dgm:cxn modelId="{52F2368F-E0D4-4942-AC01-7F97A6279EEB}" type="presOf" srcId="{129FC908-0911-4E2E-B89A-088EABF33D72}" destId="{EDA39EBC-E47F-4968-A34C-897715195772}" srcOrd="0" destOrd="0" presId="urn:microsoft.com/office/officeart/2005/8/layout/orgChart1"/>
    <dgm:cxn modelId="{3EF1E190-8C53-415F-BDC4-301B1DBB5A77}" type="presOf" srcId="{93EA9E93-75BC-40C6-99F7-A41E5447BA82}" destId="{BDA501D2-07CB-4D80-B0E6-4CE37D9AEB03}" srcOrd="1" destOrd="0" presId="urn:microsoft.com/office/officeart/2005/8/layout/orgChart1"/>
    <dgm:cxn modelId="{37D9769B-23B0-423A-BFB3-AC4D9DC751BA}" type="presOf" srcId="{A09786BA-79E2-43BB-BB3A-8FED6B5E1C00}" destId="{FE4EE777-E657-4BA3-9339-642858C13E33}" srcOrd="0" destOrd="0" presId="urn:microsoft.com/office/officeart/2005/8/layout/orgChart1"/>
    <dgm:cxn modelId="{24F7DBA3-5C4A-4611-9ADD-09B4AA0608B6}" type="presOf" srcId="{A27A8735-DA02-4611-A2F9-4A7E0186CFA5}" destId="{6A63CE53-7A93-4B75-B68E-939309640EB4}" srcOrd="0" destOrd="0" presId="urn:microsoft.com/office/officeart/2005/8/layout/orgChart1"/>
    <dgm:cxn modelId="{B84F6DA7-5908-4BC4-92EF-F84EAB896808}" type="presOf" srcId="{93EA9E93-75BC-40C6-99F7-A41E5447BA82}" destId="{B60E9B29-5F70-439F-B697-8FFD0577B15B}" srcOrd="0" destOrd="0" presId="urn:microsoft.com/office/officeart/2005/8/layout/orgChart1"/>
    <dgm:cxn modelId="{7D6CFEB1-6451-4A38-8102-1400D157E5DE}" type="presOf" srcId="{52A81331-01A5-4E16-BD2C-03964FE597F1}" destId="{8A439D46-C40A-40C8-A883-63686976A02B}" srcOrd="0" destOrd="0" presId="urn:microsoft.com/office/officeart/2005/8/layout/orgChart1"/>
    <dgm:cxn modelId="{D8294DB4-CB42-4ADD-B59E-EBEC9629B1AC}" type="presOf" srcId="{F2CC3D4A-5449-4C93-A4E0-690577D0E4DB}" destId="{1E0FFAD6-D821-4F6C-AFFB-19F56B884D87}" srcOrd="0" destOrd="0" presId="urn:microsoft.com/office/officeart/2005/8/layout/orgChart1"/>
    <dgm:cxn modelId="{30347AB6-A4B7-49FD-84A0-F3EC933154A5}" srcId="{6383DFBA-F6C7-48C7-84DB-038F6D221922}" destId="{2F5D123A-8DC2-4560-9901-18859B328A2D}" srcOrd="3" destOrd="0" parTransId="{129FC908-0911-4E2E-B89A-088EABF33D72}" sibTransId="{64190729-EBA1-4B96-985D-C836382830F1}"/>
    <dgm:cxn modelId="{6D29DEBA-CADA-47A4-B351-06B3063F85A2}" srcId="{6383DFBA-F6C7-48C7-84DB-038F6D221922}" destId="{93EA9E93-75BC-40C6-99F7-A41E5447BA82}" srcOrd="0" destOrd="0" parTransId="{134C2DE9-57C8-4C47-AEDB-4395250C88DE}" sibTransId="{6AFDFA57-A90D-4142-B73F-A54BC3FC2824}"/>
    <dgm:cxn modelId="{EA82F4BA-FB39-480B-9EE0-44A0C7352CC6}" srcId="{1CA0DC72-F694-40BB-96DC-7A38E553CABB}" destId="{6383DFBA-F6C7-48C7-84DB-038F6D221922}" srcOrd="1" destOrd="0" parTransId="{0F50EF7C-8138-4472-BD1A-5B43B7E82BD6}" sibTransId="{1BB10206-1471-4AFF-B59D-6E496ECFDA47}"/>
    <dgm:cxn modelId="{C95A2BD5-06B0-47FA-A2E5-86A4B30B537B}" type="presOf" srcId="{134C2DE9-57C8-4C47-AEDB-4395250C88DE}" destId="{14CB0436-5B91-4A26-9C49-1E1AFFD03570}" srcOrd="0" destOrd="0" presId="urn:microsoft.com/office/officeart/2005/8/layout/orgChart1"/>
    <dgm:cxn modelId="{391D0FE1-DF11-4C86-B1A8-F00D3D909F34}" type="presOf" srcId="{FAB46ADF-8943-4BCE-874D-06F736D7F511}" destId="{F1EB4837-560C-4032-AF11-1777B2E15349}" srcOrd="0" destOrd="0" presId="urn:microsoft.com/office/officeart/2005/8/layout/orgChart1"/>
    <dgm:cxn modelId="{AEBA37E5-F7BD-4608-809C-A069B57C39CB}" srcId="{6383DFBA-F6C7-48C7-84DB-038F6D221922}" destId="{320A15BD-4B6C-4C0C-905A-EA7A3FB59E2F}" srcOrd="1" destOrd="0" parTransId="{7183F8EB-DC3B-4533-890E-76D47E53B557}" sibTransId="{2CEB95B7-F2D0-4E63-8417-E403921E2491}"/>
    <dgm:cxn modelId="{B77239E5-4AAF-499E-A023-3F101037C74E}" type="presOf" srcId="{1CA0DC72-F694-40BB-96DC-7A38E553CABB}" destId="{7CD72F38-EC10-4745-9712-B0F95C682C31}" srcOrd="0" destOrd="0" presId="urn:microsoft.com/office/officeart/2005/8/layout/orgChart1"/>
    <dgm:cxn modelId="{1597B3EC-1B8D-40F4-9788-324B0726F9C9}" type="presOf" srcId="{238BC5D6-9935-423B-B7DF-3EF8CE3CD043}" destId="{B3279CB2-BE20-4188-A744-D451D58933C3}" srcOrd="1" destOrd="0" presId="urn:microsoft.com/office/officeart/2005/8/layout/orgChart1"/>
    <dgm:cxn modelId="{20A06EF0-F68F-4F11-8D9E-E005506FA284}" type="presOf" srcId="{320A15BD-4B6C-4C0C-905A-EA7A3FB59E2F}" destId="{E9F70DF6-C9AD-4F35-B548-0B03B4ABC549}" srcOrd="1" destOrd="0" presId="urn:microsoft.com/office/officeart/2005/8/layout/orgChart1"/>
    <dgm:cxn modelId="{E16834F1-EDF0-47C5-B25B-8634EB8C79A4}" type="presOf" srcId="{119A7999-DD2B-4092-9B22-3D0188A0F424}" destId="{BF90F1BC-36D1-41B8-8D4D-EE2F6624BD22}" srcOrd="0" destOrd="0" presId="urn:microsoft.com/office/officeart/2005/8/layout/orgChart1"/>
    <dgm:cxn modelId="{1726F4FA-DC0C-4EBC-A149-D05FF61836FE}" type="presOf" srcId="{EA0039D3-6F66-4A70-A8EF-4DA16B36E8C0}" destId="{6A92C5CB-995A-407A-A1B3-DA463F5DD687}" srcOrd="0" destOrd="0" presId="urn:microsoft.com/office/officeart/2005/8/layout/orgChart1"/>
    <dgm:cxn modelId="{BD241929-D5D0-46ED-94C6-314987D1F714}" type="presParOf" srcId="{F3F2A78D-EC84-4A88-8759-4F593137FC9B}" destId="{F1439999-4940-424B-B539-1558C65FD6B0}" srcOrd="0" destOrd="0" presId="urn:microsoft.com/office/officeart/2005/8/layout/orgChart1"/>
    <dgm:cxn modelId="{E1E51D13-FEA9-4E1C-8660-30383FAB5ADC}" type="presParOf" srcId="{F1439999-4940-424B-B539-1558C65FD6B0}" destId="{91EAC5FA-6AE5-492C-9CB4-0D9A3710E897}" srcOrd="0" destOrd="0" presId="urn:microsoft.com/office/officeart/2005/8/layout/orgChart1"/>
    <dgm:cxn modelId="{FB63BFE5-85A3-4A85-BA61-6BACB925A6EB}" type="presParOf" srcId="{91EAC5FA-6AE5-492C-9CB4-0D9A3710E897}" destId="{7CD72F38-EC10-4745-9712-B0F95C682C31}" srcOrd="0" destOrd="0" presId="urn:microsoft.com/office/officeart/2005/8/layout/orgChart1"/>
    <dgm:cxn modelId="{A418188D-5F0E-4C2E-8BCE-A29F8E11B267}" type="presParOf" srcId="{91EAC5FA-6AE5-492C-9CB4-0D9A3710E897}" destId="{3D64FA77-1F22-4292-A403-3B84697326F7}" srcOrd="1" destOrd="0" presId="urn:microsoft.com/office/officeart/2005/8/layout/orgChart1"/>
    <dgm:cxn modelId="{AE6F588A-4107-43D4-945F-6E0777767C81}" type="presParOf" srcId="{F1439999-4940-424B-B539-1558C65FD6B0}" destId="{C33602D8-C99E-4530-B561-967DFFB8B754}" srcOrd="1" destOrd="0" presId="urn:microsoft.com/office/officeart/2005/8/layout/orgChart1"/>
    <dgm:cxn modelId="{F050AB23-CCCC-4A03-BFCF-FD4E2B3CB931}" type="presParOf" srcId="{C33602D8-C99E-4530-B561-967DFFB8B754}" destId="{1E0FFAD6-D821-4F6C-AFFB-19F56B884D87}" srcOrd="0" destOrd="0" presId="urn:microsoft.com/office/officeart/2005/8/layout/orgChart1"/>
    <dgm:cxn modelId="{EE3E2457-67B3-4750-8AF8-6857B37B757C}" type="presParOf" srcId="{C33602D8-C99E-4530-B561-967DFFB8B754}" destId="{E5AE0249-B395-4F64-86E5-4BD9EDA77186}" srcOrd="1" destOrd="0" presId="urn:microsoft.com/office/officeart/2005/8/layout/orgChart1"/>
    <dgm:cxn modelId="{BF47A603-AD9B-4366-B84F-7195E3C4CD70}" type="presParOf" srcId="{E5AE0249-B395-4F64-86E5-4BD9EDA77186}" destId="{262679C6-5A6D-41FB-B210-753946499F50}" srcOrd="0" destOrd="0" presId="urn:microsoft.com/office/officeart/2005/8/layout/orgChart1"/>
    <dgm:cxn modelId="{8DAC291B-77F1-43B6-B14E-860C837213A0}" type="presParOf" srcId="{262679C6-5A6D-41FB-B210-753946499F50}" destId="{8C6C8FB7-A71A-4778-8450-A395ED6726BA}" srcOrd="0" destOrd="0" presId="urn:microsoft.com/office/officeart/2005/8/layout/orgChart1"/>
    <dgm:cxn modelId="{A432D4C6-37B2-43E7-89AE-57CA77C89437}" type="presParOf" srcId="{262679C6-5A6D-41FB-B210-753946499F50}" destId="{B4C28BFF-49FE-4A3D-AFE3-908BF4C9BA63}" srcOrd="1" destOrd="0" presId="urn:microsoft.com/office/officeart/2005/8/layout/orgChart1"/>
    <dgm:cxn modelId="{9837AF39-9458-40D1-A369-E8CF60F9014C}" type="presParOf" srcId="{E5AE0249-B395-4F64-86E5-4BD9EDA77186}" destId="{ABDA7BFC-22DB-4BDE-9976-39BBD5FAD621}" srcOrd="1" destOrd="0" presId="urn:microsoft.com/office/officeart/2005/8/layout/orgChart1"/>
    <dgm:cxn modelId="{97FD73C0-9675-46CA-A2C2-C4A2C4485A57}" type="presParOf" srcId="{ABDA7BFC-22DB-4BDE-9976-39BBD5FAD621}" destId="{C8E78DC8-6539-4AB6-BA6F-C6EF734BF7B2}" srcOrd="0" destOrd="0" presId="urn:microsoft.com/office/officeart/2005/8/layout/orgChart1"/>
    <dgm:cxn modelId="{4CDB8BC7-6B7A-4AD9-B6EC-CC19860962F8}" type="presParOf" srcId="{ABDA7BFC-22DB-4BDE-9976-39BBD5FAD621}" destId="{BDA5A5C5-6A4F-40B8-8474-BDFAE77EAA5D}" srcOrd="1" destOrd="0" presId="urn:microsoft.com/office/officeart/2005/8/layout/orgChart1"/>
    <dgm:cxn modelId="{4939CFC1-71C9-4EB4-BE0C-EEFC88B52D22}" type="presParOf" srcId="{BDA5A5C5-6A4F-40B8-8474-BDFAE77EAA5D}" destId="{89159B68-A0CE-4A82-BA45-31052C2F9AD6}" srcOrd="0" destOrd="0" presId="urn:microsoft.com/office/officeart/2005/8/layout/orgChart1"/>
    <dgm:cxn modelId="{138C491E-F29D-45F2-88C0-580C4E6AB99D}" type="presParOf" srcId="{89159B68-A0CE-4A82-BA45-31052C2F9AD6}" destId="{BF90F1BC-36D1-41B8-8D4D-EE2F6624BD22}" srcOrd="0" destOrd="0" presId="urn:microsoft.com/office/officeart/2005/8/layout/orgChart1"/>
    <dgm:cxn modelId="{2D9EF82F-5DA2-44F9-B899-84E80E646E21}" type="presParOf" srcId="{89159B68-A0CE-4A82-BA45-31052C2F9AD6}" destId="{D69E75F1-AC72-493A-AB76-60A533FD9159}" srcOrd="1" destOrd="0" presId="urn:microsoft.com/office/officeart/2005/8/layout/orgChart1"/>
    <dgm:cxn modelId="{B0E69714-CB1E-4832-9C58-4BCB20CB8CFB}" type="presParOf" srcId="{BDA5A5C5-6A4F-40B8-8474-BDFAE77EAA5D}" destId="{65BA0F06-3F79-429D-A30D-7BBFEF43E480}" srcOrd="1" destOrd="0" presId="urn:microsoft.com/office/officeart/2005/8/layout/orgChart1"/>
    <dgm:cxn modelId="{E75374B0-E2CE-40F5-AB1B-E42AADCE98CB}" type="presParOf" srcId="{BDA5A5C5-6A4F-40B8-8474-BDFAE77EAA5D}" destId="{7311E03C-AE4E-4BC1-ABA5-6C08FF6BAD47}" srcOrd="2" destOrd="0" presId="urn:microsoft.com/office/officeart/2005/8/layout/orgChart1"/>
    <dgm:cxn modelId="{E6E60E89-C5B6-469E-9119-0CDA9E3B93FA}" type="presParOf" srcId="{ABDA7BFC-22DB-4BDE-9976-39BBD5FAD621}" destId="{F1EB4837-560C-4032-AF11-1777B2E15349}" srcOrd="2" destOrd="0" presId="urn:microsoft.com/office/officeart/2005/8/layout/orgChart1"/>
    <dgm:cxn modelId="{255A771D-4006-49B0-8BC6-BB32ED071F72}" type="presParOf" srcId="{ABDA7BFC-22DB-4BDE-9976-39BBD5FAD621}" destId="{CC73DFC1-4089-44B5-BDFC-2588D0F88A0D}" srcOrd="3" destOrd="0" presId="urn:microsoft.com/office/officeart/2005/8/layout/orgChart1"/>
    <dgm:cxn modelId="{9CC1EFFD-ED85-4103-A75B-C707DAF2DB0A}" type="presParOf" srcId="{CC73DFC1-4089-44B5-BDFC-2588D0F88A0D}" destId="{1B29CFC6-33F5-4AFE-8CF8-24948AF08A90}" srcOrd="0" destOrd="0" presId="urn:microsoft.com/office/officeart/2005/8/layout/orgChart1"/>
    <dgm:cxn modelId="{23671665-C7E1-4FF7-95E0-4E19F3175DE7}" type="presParOf" srcId="{1B29CFC6-33F5-4AFE-8CF8-24948AF08A90}" destId="{FE4EE777-E657-4BA3-9339-642858C13E33}" srcOrd="0" destOrd="0" presId="urn:microsoft.com/office/officeart/2005/8/layout/orgChart1"/>
    <dgm:cxn modelId="{879C593F-5741-48D0-808F-DED9FC50C170}" type="presParOf" srcId="{1B29CFC6-33F5-4AFE-8CF8-24948AF08A90}" destId="{EEEFF7AD-F509-470D-9854-F0119EB8F92E}" srcOrd="1" destOrd="0" presId="urn:microsoft.com/office/officeart/2005/8/layout/orgChart1"/>
    <dgm:cxn modelId="{207F6ED2-358E-4A70-907E-3F4143400D8A}" type="presParOf" srcId="{CC73DFC1-4089-44B5-BDFC-2588D0F88A0D}" destId="{17FA5FEE-778F-4B20-AFE5-CAB469F4486E}" srcOrd="1" destOrd="0" presId="urn:microsoft.com/office/officeart/2005/8/layout/orgChart1"/>
    <dgm:cxn modelId="{5CE92B9A-0091-4B5F-A72F-E853DC2C6F91}" type="presParOf" srcId="{CC73DFC1-4089-44B5-BDFC-2588D0F88A0D}" destId="{C7AD7F3A-E4CA-42C4-A45C-2BB727A65173}" srcOrd="2" destOrd="0" presId="urn:microsoft.com/office/officeart/2005/8/layout/orgChart1"/>
    <dgm:cxn modelId="{71FDFE35-EF32-4109-BE5F-2A3F94C37729}" type="presParOf" srcId="{ABDA7BFC-22DB-4BDE-9976-39BBD5FAD621}" destId="{6A92C5CB-995A-407A-A1B3-DA463F5DD687}" srcOrd="4" destOrd="0" presId="urn:microsoft.com/office/officeart/2005/8/layout/orgChart1"/>
    <dgm:cxn modelId="{FACEC0A9-C1EC-4812-9FF1-4433BF32CD97}" type="presParOf" srcId="{ABDA7BFC-22DB-4BDE-9976-39BBD5FAD621}" destId="{78FA1E11-57BE-46BB-8F0B-2177FE00437A}" srcOrd="5" destOrd="0" presId="urn:microsoft.com/office/officeart/2005/8/layout/orgChart1"/>
    <dgm:cxn modelId="{4194C6A8-EEDD-485E-B93B-E97D5A41E44C}" type="presParOf" srcId="{78FA1E11-57BE-46BB-8F0B-2177FE00437A}" destId="{F979F7B5-D5A4-4034-ABCC-DFD88F13F95C}" srcOrd="0" destOrd="0" presId="urn:microsoft.com/office/officeart/2005/8/layout/orgChart1"/>
    <dgm:cxn modelId="{7EF43FA8-4A57-4308-8ECF-EE6FA7A59C01}" type="presParOf" srcId="{F979F7B5-D5A4-4034-ABCC-DFD88F13F95C}" destId="{2A3FC08A-DC38-4246-B721-0E3EA0A06D08}" srcOrd="0" destOrd="0" presId="urn:microsoft.com/office/officeart/2005/8/layout/orgChart1"/>
    <dgm:cxn modelId="{C6AE5D84-9E1E-4131-9B8B-36D5D7E85845}" type="presParOf" srcId="{F979F7B5-D5A4-4034-ABCC-DFD88F13F95C}" destId="{B3279CB2-BE20-4188-A744-D451D58933C3}" srcOrd="1" destOrd="0" presId="urn:microsoft.com/office/officeart/2005/8/layout/orgChart1"/>
    <dgm:cxn modelId="{D6BF5655-B3CF-4098-8E3B-98D4F9403580}" type="presParOf" srcId="{78FA1E11-57BE-46BB-8F0B-2177FE00437A}" destId="{BE52AB3E-A8D9-4B0A-BD02-6637B200E823}" srcOrd="1" destOrd="0" presId="urn:microsoft.com/office/officeart/2005/8/layout/orgChart1"/>
    <dgm:cxn modelId="{CB16327A-8744-4C95-836B-2EA3306C5428}" type="presParOf" srcId="{78FA1E11-57BE-46BB-8F0B-2177FE00437A}" destId="{0E741A5C-6480-465D-9EC8-A27F6118938B}" srcOrd="2" destOrd="0" presId="urn:microsoft.com/office/officeart/2005/8/layout/orgChart1"/>
    <dgm:cxn modelId="{A158EA14-6A1D-46E2-9F3A-0934ED8FA20B}" type="presParOf" srcId="{E5AE0249-B395-4F64-86E5-4BD9EDA77186}" destId="{50B80DA1-0F6C-4E94-8D72-47BDC5FEE966}" srcOrd="2" destOrd="0" presId="urn:microsoft.com/office/officeart/2005/8/layout/orgChart1"/>
    <dgm:cxn modelId="{79368882-E89E-4555-BF3E-FE5964A1C27A}" type="presParOf" srcId="{C33602D8-C99E-4530-B561-967DFFB8B754}" destId="{78FEF888-91B3-4CD8-979F-0EA5D12E4DBD}" srcOrd="2" destOrd="0" presId="urn:microsoft.com/office/officeart/2005/8/layout/orgChart1"/>
    <dgm:cxn modelId="{8586FB02-6DC2-4DE5-B232-A52F241E8074}" type="presParOf" srcId="{C33602D8-C99E-4530-B561-967DFFB8B754}" destId="{FEB310E6-E694-4F68-9E75-5DB0412FB2F0}" srcOrd="3" destOrd="0" presId="urn:microsoft.com/office/officeart/2005/8/layout/orgChart1"/>
    <dgm:cxn modelId="{61DBEDFA-19FB-4CF6-B268-754EA739512E}" type="presParOf" srcId="{FEB310E6-E694-4F68-9E75-5DB0412FB2F0}" destId="{B9E84478-7F80-47ED-8BA8-8C6535E48DDF}" srcOrd="0" destOrd="0" presId="urn:microsoft.com/office/officeart/2005/8/layout/orgChart1"/>
    <dgm:cxn modelId="{387538F9-4078-4911-B68A-5061BD1ACE0A}" type="presParOf" srcId="{B9E84478-7F80-47ED-8BA8-8C6535E48DDF}" destId="{45E5FE00-AA4B-4EDE-B65F-93A520DD04BC}" srcOrd="0" destOrd="0" presId="urn:microsoft.com/office/officeart/2005/8/layout/orgChart1"/>
    <dgm:cxn modelId="{41E0F57C-A7BC-4D06-8132-D9E4D2B8618A}" type="presParOf" srcId="{B9E84478-7F80-47ED-8BA8-8C6535E48DDF}" destId="{6E099768-C3C6-437E-8426-13D041A9A136}" srcOrd="1" destOrd="0" presId="urn:microsoft.com/office/officeart/2005/8/layout/orgChart1"/>
    <dgm:cxn modelId="{A3AA8F1E-5391-4328-BEC0-79B73A035BB9}" type="presParOf" srcId="{FEB310E6-E694-4F68-9E75-5DB0412FB2F0}" destId="{B29A561C-2AED-42C6-8B49-B2390E1E535B}" srcOrd="1" destOrd="0" presId="urn:microsoft.com/office/officeart/2005/8/layout/orgChart1"/>
    <dgm:cxn modelId="{043AD903-19C0-4864-BF27-32FC7755435A}" type="presParOf" srcId="{B29A561C-2AED-42C6-8B49-B2390E1E535B}" destId="{14CB0436-5B91-4A26-9C49-1E1AFFD03570}" srcOrd="0" destOrd="0" presId="urn:microsoft.com/office/officeart/2005/8/layout/orgChart1"/>
    <dgm:cxn modelId="{0566987F-87E0-4D31-9F2B-A94AD6F3A457}" type="presParOf" srcId="{B29A561C-2AED-42C6-8B49-B2390E1E535B}" destId="{78A59A62-1A40-4C0E-930C-1961A1D6A2B2}" srcOrd="1" destOrd="0" presId="urn:microsoft.com/office/officeart/2005/8/layout/orgChart1"/>
    <dgm:cxn modelId="{377CA735-C995-415C-AED6-D331D5B907D4}" type="presParOf" srcId="{78A59A62-1A40-4C0E-930C-1961A1D6A2B2}" destId="{71EDAB50-8728-4B7A-9036-EDB4F34F8FFB}" srcOrd="0" destOrd="0" presId="urn:microsoft.com/office/officeart/2005/8/layout/orgChart1"/>
    <dgm:cxn modelId="{B7C14552-862C-427D-B80E-B52FD9AC97E3}" type="presParOf" srcId="{71EDAB50-8728-4B7A-9036-EDB4F34F8FFB}" destId="{B60E9B29-5F70-439F-B697-8FFD0577B15B}" srcOrd="0" destOrd="0" presId="urn:microsoft.com/office/officeart/2005/8/layout/orgChart1"/>
    <dgm:cxn modelId="{037D864A-18F3-44E3-8468-223B662B4B81}" type="presParOf" srcId="{71EDAB50-8728-4B7A-9036-EDB4F34F8FFB}" destId="{BDA501D2-07CB-4D80-B0E6-4CE37D9AEB03}" srcOrd="1" destOrd="0" presId="urn:microsoft.com/office/officeart/2005/8/layout/orgChart1"/>
    <dgm:cxn modelId="{DFE38BCF-3DDE-408F-9279-8D4CDE56D9A8}" type="presParOf" srcId="{78A59A62-1A40-4C0E-930C-1961A1D6A2B2}" destId="{4B70BC41-168E-4FFD-83D3-E2EEAE41FC45}" srcOrd="1" destOrd="0" presId="urn:microsoft.com/office/officeart/2005/8/layout/orgChart1"/>
    <dgm:cxn modelId="{0A48B1AE-53EB-45AD-B83E-7102978BF0AD}" type="presParOf" srcId="{78A59A62-1A40-4C0E-930C-1961A1D6A2B2}" destId="{BBB0300D-8B57-4525-8CE0-E795FDCEE4B2}" srcOrd="2" destOrd="0" presId="urn:microsoft.com/office/officeart/2005/8/layout/orgChart1"/>
    <dgm:cxn modelId="{C3F8C277-8D71-47CA-9830-69C31A0D6FB2}" type="presParOf" srcId="{B29A561C-2AED-42C6-8B49-B2390E1E535B}" destId="{EC020BC3-BF25-43A2-969F-ED957C96FC20}" srcOrd="2" destOrd="0" presId="urn:microsoft.com/office/officeart/2005/8/layout/orgChart1"/>
    <dgm:cxn modelId="{B912E199-B033-4DCF-8E46-773D05380395}" type="presParOf" srcId="{B29A561C-2AED-42C6-8B49-B2390E1E535B}" destId="{9124D7CB-FCEE-4DEF-B67E-13A99B91683B}" srcOrd="3" destOrd="0" presId="urn:microsoft.com/office/officeart/2005/8/layout/orgChart1"/>
    <dgm:cxn modelId="{FBCCE4F2-932B-43D8-B499-19FB4F8A0687}" type="presParOf" srcId="{9124D7CB-FCEE-4DEF-B67E-13A99B91683B}" destId="{904B875B-DC47-4080-9E59-41577AD3F299}" srcOrd="0" destOrd="0" presId="urn:microsoft.com/office/officeart/2005/8/layout/orgChart1"/>
    <dgm:cxn modelId="{3836A56A-0441-4D02-A1FF-A703165CA47C}" type="presParOf" srcId="{904B875B-DC47-4080-9E59-41577AD3F299}" destId="{353D768F-0D88-4295-98D4-6F2EE703F395}" srcOrd="0" destOrd="0" presId="urn:microsoft.com/office/officeart/2005/8/layout/orgChart1"/>
    <dgm:cxn modelId="{19522AAF-7528-4251-A501-7E05B6EFFE20}" type="presParOf" srcId="{904B875B-DC47-4080-9E59-41577AD3F299}" destId="{E9F70DF6-C9AD-4F35-B548-0B03B4ABC549}" srcOrd="1" destOrd="0" presId="urn:microsoft.com/office/officeart/2005/8/layout/orgChart1"/>
    <dgm:cxn modelId="{98FEFE84-976F-4BE0-A799-E3A3927CA86F}" type="presParOf" srcId="{9124D7CB-FCEE-4DEF-B67E-13A99B91683B}" destId="{07A822FA-A4F0-4229-B388-6F60BCD29791}" srcOrd="1" destOrd="0" presId="urn:microsoft.com/office/officeart/2005/8/layout/orgChart1"/>
    <dgm:cxn modelId="{590222F2-1DDE-4825-A593-42A74C273C89}" type="presParOf" srcId="{9124D7CB-FCEE-4DEF-B67E-13A99B91683B}" destId="{8308EE1E-45D0-4C56-83DA-A8ED648ABBED}" srcOrd="2" destOrd="0" presId="urn:microsoft.com/office/officeart/2005/8/layout/orgChart1"/>
    <dgm:cxn modelId="{2AF7EED9-C95A-494F-A5D5-BA7350326F7B}" type="presParOf" srcId="{B29A561C-2AED-42C6-8B49-B2390E1E535B}" destId="{6A63CE53-7A93-4B75-B68E-939309640EB4}" srcOrd="4" destOrd="0" presId="urn:microsoft.com/office/officeart/2005/8/layout/orgChart1"/>
    <dgm:cxn modelId="{B26AEF95-4716-4FF7-ADD3-4D827D76114C}" type="presParOf" srcId="{B29A561C-2AED-42C6-8B49-B2390E1E535B}" destId="{B1D104E0-1623-4B53-966B-3A0BE72B1948}" srcOrd="5" destOrd="0" presId="urn:microsoft.com/office/officeart/2005/8/layout/orgChart1"/>
    <dgm:cxn modelId="{006E57D8-AB67-4A1C-9C27-C9C336FBF6C9}" type="presParOf" srcId="{B1D104E0-1623-4B53-966B-3A0BE72B1948}" destId="{7FFEC814-1309-47CB-9E81-CC892190D39F}" srcOrd="0" destOrd="0" presId="urn:microsoft.com/office/officeart/2005/8/layout/orgChart1"/>
    <dgm:cxn modelId="{45627CC6-305D-4C1F-A139-A030316C389D}" type="presParOf" srcId="{7FFEC814-1309-47CB-9E81-CC892190D39F}" destId="{8A439D46-C40A-40C8-A883-63686976A02B}" srcOrd="0" destOrd="0" presId="urn:microsoft.com/office/officeart/2005/8/layout/orgChart1"/>
    <dgm:cxn modelId="{20446B4D-4A32-480A-B25F-9C9EC9504BB7}" type="presParOf" srcId="{7FFEC814-1309-47CB-9E81-CC892190D39F}" destId="{ED53EF7B-63EA-40F2-BA82-135EFB6FCB37}" srcOrd="1" destOrd="0" presId="urn:microsoft.com/office/officeart/2005/8/layout/orgChart1"/>
    <dgm:cxn modelId="{BD57DDB6-3ED1-4772-A3CA-DB17BA6AEDF6}" type="presParOf" srcId="{B1D104E0-1623-4B53-966B-3A0BE72B1948}" destId="{88BC99F0-F603-4DEA-9E17-466D29162A83}" srcOrd="1" destOrd="0" presId="urn:microsoft.com/office/officeart/2005/8/layout/orgChart1"/>
    <dgm:cxn modelId="{AB2485C5-BA37-443D-A5EC-92711DF8E42F}" type="presParOf" srcId="{B1D104E0-1623-4B53-966B-3A0BE72B1948}" destId="{E9E6A79F-B293-49C4-BA77-7A9F6318B6F1}" srcOrd="2" destOrd="0" presId="urn:microsoft.com/office/officeart/2005/8/layout/orgChart1"/>
    <dgm:cxn modelId="{1667FE55-B466-4651-A546-0E71BC992EB3}" type="presParOf" srcId="{B29A561C-2AED-42C6-8B49-B2390E1E535B}" destId="{EDA39EBC-E47F-4968-A34C-897715195772}" srcOrd="6" destOrd="0" presId="urn:microsoft.com/office/officeart/2005/8/layout/orgChart1"/>
    <dgm:cxn modelId="{7BF03EAD-B7E4-431F-80A7-60D77A0140B6}" type="presParOf" srcId="{B29A561C-2AED-42C6-8B49-B2390E1E535B}" destId="{937500A7-A79C-4CDC-ADEF-43E8B6C75AC8}" srcOrd="7" destOrd="0" presId="urn:microsoft.com/office/officeart/2005/8/layout/orgChart1"/>
    <dgm:cxn modelId="{FDFE27C6-63A7-4F26-B043-1F9BCFC9809B}" type="presParOf" srcId="{937500A7-A79C-4CDC-ADEF-43E8B6C75AC8}" destId="{6E26A310-5F1C-41E2-9C07-4B092DFBCB3D}" srcOrd="0" destOrd="0" presId="urn:microsoft.com/office/officeart/2005/8/layout/orgChart1"/>
    <dgm:cxn modelId="{0D519ED2-E556-4BE5-958C-17BACBF0770E}" type="presParOf" srcId="{6E26A310-5F1C-41E2-9C07-4B092DFBCB3D}" destId="{A9DAA1F0-192A-4161-8CBF-626E51575B6B}" srcOrd="0" destOrd="0" presId="urn:microsoft.com/office/officeart/2005/8/layout/orgChart1"/>
    <dgm:cxn modelId="{515AB4EB-82C5-4ADE-9261-5896FFB8341A}" type="presParOf" srcId="{6E26A310-5F1C-41E2-9C07-4B092DFBCB3D}" destId="{CAA284FD-431B-4FFE-BFB1-E6D75532C1F8}" srcOrd="1" destOrd="0" presId="urn:microsoft.com/office/officeart/2005/8/layout/orgChart1"/>
    <dgm:cxn modelId="{BAEE0744-EAE1-4764-BF93-DEB19C447D74}" type="presParOf" srcId="{937500A7-A79C-4CDC-ADEF-43E8B6C75AC8}" destId="{08BB2511-ED76-440B-BB6D-F35CBD55CD01}" srcOrd="1" destOrd="0" presId="urn:microsoft.com/office/officeart/2005/8/layout/orgChart1"/>
    <dgm:cxn modelId="{380E8B36-9FB4-4711-8B5A-91D580F5C8F6}" type="presParOf" srcId="{937500A7-A79C-4CDC-ADEF-43E8B6C75AC8}" destId="{B63E243E-D4D2-4645-8107-DF6150A38930}" srcOrd="2" destOrd="0" presId="urn:microsoft.com/office/officeart/2005/8/layout/orgChart1"/>
    <dgm:cxn modelId="{C1EDF890-7922-4FA5-962C-B766EBBED38A}" type="presParOf" srcId="{FEB310E6-E694-4F68-9E75-5DB0412FB2F0}" destId="{C280A127-BEE5-4B59-B999-CADF73DCCA17}" srcOrd="2" destOrd="0" presId="urn:microsoft.com/office/officeart/2005/8/layout/orgChart1"/>
    <dgm:cxn modelId="{C446E77B-F0F2-4B86-9D5F-AD5865D0D486}" type="presParOf" srcId="{F1439999-4940-424B-B539-1558C65FD6B0}" destId="{7C7124C1-7EF2-49A8-B770-6C76709E65AE}" srcOrd="2" destOrd="0" presId="urn:microsoft.com/office/officeart/2005/8/layout/orgChart1"/>
  </dgm:cxnLst>
  <dgm:bg>
    <a:effectLst>
      <a:outerShdw blurRad="50800" dist="38100" dir="2700000" algn="tl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B5392C1-2D9C-4A65-A2B0-D5C5AFB9C95D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632C41D6-824E-448F-BEA9-0FC0781CD4AB}">
      <dgm:prSet phldrT="[Текст]" custT="1"/>
      <dgm:spPr>
        <a:solidFill>
          <a:schemeClr val="accent1">
            <a:lumMod val="60000"/>
            <a:lumOff val="40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2000" b="1" dirty="0">
              <a:solidFill>
                <a:schemeClr val="tx1"/>
              </a:solidFill>
            </a:rPr>
            <a:t>Основные механизмы </a:t>
          </a:r>
        </a:p>
        <a:p>
          <a:r>
            <a:rPr lang="ru-RU" sz="2000" b="1" dirty="0">
              <a:solidFill>
                <a:schemeClr val="tx1"/>
              </a:solidFill>
            </a:rPr>
            <a:t>снижения количества оценочных мероприятий  </a:t>
          </a:r>
        </a:p>
      </dgm:t>
    </dgm:pt>
    <dgm:pt modelId="{7089DF78-3EB2-4BA8-B4BF-1F2A6B9616B9}" type="parTrans" cxnId="{EA95A279-9CBA-4816-BD48-7926594D9D08}">
      <dgm:prSet/>
      <dgm:spPr/>
      <dgm:t>
        <a:bodyPr/>
        <a:lstStyle/>
        <a:p>
          <a:endParaRPr lang="ru-RU"/>
        </a:p>
      </dgm:t>
    </dgm:pt>
    <dgm:pt modelId="{E99B3C02-2A49-47FA-9DA7-9A8C40954521}" type="sibTrans" cxnId="{EA95A279-9CBA-4816-BD48-7926594D9D08}">
      <dgm:prSet/>
      <dgm:spPr/>
      <dgm:t>
        <a:bodyPr/>
        <a:lstStyle/>
        <a:p>
          <a:endParaRPr lang="ru-RU"/>
        </a:p>
      </dgm:t>
    </dgm:pt>
    <dgm:pt modelId="{3C73547C-AFFD-4E60-83F5-1B0443F2C80F}">
      <dgm:prSet phldrT="[Текст]" custT="1"/>
      <dgm:spPr>
        <a:solidFill>
          <a:schemeClr val="accent1">
            <a:lumMod val="60000"/>
            <a:lumOff val="40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1800" b="1" dirty="0">
              <a:solidFill>
                <a:schemeClr val="tx1"/>
              </a:solidFill>
            </a:rPr>
            <a:t>Нормативно-правовое регулирование</a:t>
          </a:r>
        </a:p>
        <a:p>
          <a:r>
            <a:rPr lang="ru-RU" sz="1200" b="1" dirty="0">
              <a:solidFill>
                <a:schemeClr val="tx1"/>
              </a:solidFill>
            </a:rPr>
            <a:t>(Формирование ограничений по количеству оценочных мероприятий  </a:t>
          </a:r>
        </a:p>
      </dgm:t>
    </dgm:pt>
    <dgm:pt modelId="{BA147017-19F0-4E49-BCD2-01388EFD2217}" type="parTrans" cxnId="{2C56AA80-2009-4539-8BBC-20C2A4097D1E}">
      <dgm:prSet/>
      <dgm:spPr/>
      <dgm:t>
        <a:bodyPr/>
        <a:lstStyle/>
        <a:p>
          <a:endParaRPr lang="ru-RU"/>
        </a:p>
      </dgm:t>
    </dgm:pt>
    <dgm:pt modelId="{9000B2D9-DE11-42C7-A4CF-4402D689F94E}" type="sibTrans" cxnId="{2C56AA80-2009-4539-8BBC-20C2A4097D1E}">
      <dgm:prSet/>
      <dgm:spPr/>
      <dgm:t>
        <a:bodyPr/>
        <a:lstStyle/>
        <a:p>
          <a:endParaRPr lang="ru-RU"/>
        </a:p>
      </dgm:t>
    </dgm:pt>
    <dgm:pt modelId="{DEB1737F-0AA0-4C15-BC9F-FDAB41547E42}">
      <dgm:prSet phldrT="[Текст]" custT="1"/>
      <dgm:spPr>
        <a:solidFill>
          <a:schemeClr val="accent1">
            <a:lumMod val="60000"/>
            <a:lumOff val="40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endParaRPr lang="ru-RU" sz="2800" b="1" dirty="0">
            <a:solidFill>
              <a:schemeClr val="tx1"/>
            </a:solidFill>
          </a:endParaRPr>
        </a:p>
        <a:p>
          <a:r>
            <a:rPr lang="ru-RU" sz="2400" b="1" dirty="0">
              <a:solidFill>
                <a:schemeClr val="tx1"/>
              </a:solidFill>
            </a:rPr>
            <a:t>КНД</a:t>
          </a:r>
        </a:p>
        <a:p>
          <a:r>
            <a:rPr lang="ru-RU" sz="1400" b="1" dirty="0">
              <a:solidFill>
                <a:schemeClr val="tx1"/>
              </a:solidFill>
            </a:rPr>
            <a:t>(контроль за выполнением требований)</a:t>
          </a:r>
        </a:p>
        <a:p>
          <a:r>
            <a:rPr lang="ru-RU" sz="1200" dirty="0"/>
            <a:t> </a:t>
          </a:r>
        </a:p>
      </dgm:t>
    </dgm:pt>
    <dgm:pt modelId="{9A152A1E-85AA-4B43-9F68-A6A7B3CF010F}" type="parTrans" cxnId="{890264FD-49D4-44AB-B746-4E90E949102F}">
      <dgm:prSet/>
      <dgm:spPr/>
      <dgm:t>
        <a:bodyPr/>
        <a:lstStyle/>
        <a:p>
          <a:endParaRPr lang="ru-RU"/>
        </a:p>
      </dgm:t>
    </dgm:pt>
    <dgm:pt modelId="{2C84F778-1D99-4F51-BD89-FA07CBE79492}" type="sibTrans" cxnId="{890264FD-49D4-44AB-B746-4E90E949102F}">
      <dgm:prSet/>
      <dgm:spPr/>
      <dgm:t>
        <a:bodyPr/>
        <a:lstStyle/>
        <a:p>
          <a:endParaRPr lang="ru-RU"/>
        </a:p>
      </dgm:t>
    </dgm:pt>
    <dgm:pt modelId="{7E23F6CB-D7B8-4B8E-A09E-592CBE284685}">
      <dgm:prSet phldrT="[Текст]" custT="1"/>
      <dgm:spPr>
        <a:solidFill>
          <a:schemeClr val="accent1">
            <a:lumMod val="60000"/>
            <a:lumOff val="40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sz="2000" b="1" dirty="0">
              <a:solidFill>
                <a:schemeClr val="tx1"/>
              </a:solidFill>
            </a:rPr>
            <a:t>Методическая поддержка</a:t>
          </a:r>
        </a:p>
        <a:p>
          <a:r>
            <a:rPr lang="ru-RU" sz="1400" b="1" dirty="0">
              <a:solidFill>
                <a:schemeClr val="tx1"/>
              </a:solidFill>
            </a:rPr>
            <a:t>(эффективное использование оценочных процедур в учебном процессе) </a:t>
          </a:r>
        </a:p>
      </dgm:t>
    </dgm:pt>
    <dgm:pt modelId="{6F872DD7-150A-4EED-BE89-F56AB66623F2}" type="parTrans" cxnId="{DC24E828-0852-4E7B-B526-785EB3134133}">
      <dgm:prSet/>
      <dgm:spPr/>
      <dgm:t>
        <a:bodyPr/>
        <a:lstStyle/>
        <a:p>
          <a:endParaRPr lang="ru-RU"/>
        </a:p>
      </dgm:t>
    </dgm:pt>
    <dgm:pt modelId="{36FA0F71-0310-4158-A966-E4C5ED46D46D}" type="sibTrans" cxnId="{DC24E828-0852-4E7B-B526-785EB3134133}">
      <dgm:prSet/>
      <dgm:spPr/>
      <dgm:t>
        <a:bodyPr/>
        <a:lstStyle/>
        <a:p>
          <a:endParaRPr lang="ru-RU"/>
        </a:p>
      </dgm:t>
    </dgm:pt>
    <dgm:pt modelId="{65AA716E-02B8-456C-B560-DB0CEF430679}">
      <dgm:prSet/>
      <dgm:spPr>
        <a:solidFill>
          <a:schemeClr val="accent6">
            <a:lumMod val="60000"/>
            <a:lumOff val="40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b="1" dirty="0">
              <a:solidFill>
                <a:schemeClr val="tx1"/>
              </a:solidFill>
            </a:rPr>
            <a:t>273 ФЗ</a:t>
          </a:r>
        </a:p>
        <a:p>
          <a:r>
            <a:rPr lang="ru-RU" b="1" dirty="0">
              <a:solidFill>
                <a:schemeClr val="tx1"/>
              </a:solidFill>
            </a:rPr>
            <a:t>Согласование оценочных процедур с Рособрнадзором </a:t>
          </a:r>
        </a:p>
      </dgm:t>
    </dgm:pt>
    <dgm:pt modelId="{6898932B-3F49-4993-8A23-49115CD57AC4}" type="parTrans" cxnId="{0280A33E-318A-4E48-A737-9075D3ECD381}">
      <dgm:prSet/>
      <dgm:spPr/>
      <dgm:t>
        <a:bodyPr/>
        <a:lstStyle/>
        <a:p>
          <a:endParaRPr lang="ru-RU"/>
        </a:p>
      </dgm:t>
    </dgm:pt>
    <dgm:pt modelId="{125B20E0-5453-4174-9C21-209E1DDE9E6D}" type="sibTrans" cxnId="{0280A33E-318A-4E48-A737-9075D3ECD381}">
      <dgm:prSet/>
      <dgm:spPr/>
      <dgm:t>
        <a:bodyPr/>
        <a:lstStyle/>
        <a:p>
          <a:endParaRPr lang="ru-RU"/>
        </a:p>
      </dgm:t>
    </dgm:pt>
    <dgm:pt modelId="{A06498C6-067E-47E0-8711-0E12104EBB16}">
      <dgm:prSet/>
      <dgm:spPr>
        <a:solidFill>
          <a:schemeClr val="accent6">
            <a:lumMod val="60000"/>
            <a:lumOff val="40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b="1" dirty="0">
              <a:solidFill>
                <a:schemeClr val="tx1"/>
              </a:solidFill>
            </a:rPr>
            <a:t>Постановление Правительства РФ </a:t>
          </a:r>
        </a:p>
        <a:p>
          <a:r>
            <a:rPr lang="ru-RU" b="1" dirty="0">
              <a:solidFill>
                <a:schemeClr val="tx1"/>
              </a:solidFill>
            </a:rPr>
            <a:t>о мероприятиях об оценке качества образования </a:t>
          </a:r>
        </a:p>
      </dgm:t>
    </dgm:pt>
    <dgm:pt modelId="{021CD952-9FCB-4C90-A802-B85A2AA0E827}" type="parTrans" cxnId="{2CFC995E-F609-4856-A9DC-8146FCFC94A2}">
      <dgm:prSet/>
      <dgm:spPr/>
      <dgm:t>
        <a:bodyPr/>
        <a:lstStyle/>
        <a:p>
          <a:endParaRPr lang="ru-RU"/>
        </a:p>
      </dgm:t>
    </dgm:pt>
    <dgm:pt modelId="{F5568D52-22EB-4B46-9795-BB8DCE19151A}" type="sibTrans" cxnId="{2CFC995E-F609-4856-A9DC-8146FCFC94A2}">
      <dgm:prSet/>
      <dgm:spPr/>
      <dgm:t>
        <a:bodyPr/>
        <a:lstStyle/>
        <a:p>
          <a:endParaRPr lang="ru-RU"/>
        </a:p>
      </dgm:t>
    </dgm:pt>
    <dgm:pt modelId="{F4806AA1-9AC1-48F2-9CE2-4C2AF7072745}">
      <dgm:prSet/>
      <dgm:spPr>
        <a:solidFill>
          <a:srgbClr val="E86F62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b="1" dirty="0">
              <a:solidFill>
                <a:schemeClr val="tx1"/>
              </a:solidFill>
            </a:rPr>
            <a:t>Нормы ФЗ по  проведению оценочных мероприятий общественными организациями </a:t>
          </a:r>
        </a:p>
      </dgm:t>
    </dgm:pt>
    <dgm:pt modelId="{17A63DE3-51B9-43FE-813E-CC13D4491AE0}" type="parTrans" cxnId="{C18CCAA6-8B90-475D-9A89-BAF136A80F4C}">
      <dgm:prSet/>
      <dgm:spPr/>
      <dgm:t>
        <a:bodyPr/>
        <a:lstStyle/>
        <a:p>
          <a:endParaRPr lang="ru-RU"/>
        </a:p>
      </dgm:t>
    </dgm:pt>
    <dgm:pt modelId="{DEC5DFAF-C47C-4E03-8685-748A69DD78BD}" type="sibTrans" cxnId="{C18CCAA6-8B90-475D-9A89-BAF136A80F4C}">
      <dgm:prSet/>
      <dgm:spPr/>
      <dgm:t>
        <a:bodyPr/>
        <a:lstStyle/>
        <a:p>
          <a:endParaRPr lang="ru-RU"/>
        </a:p>
      </dgm:t>
    </dgm:pt>
    <dgm:pt modelId="{F3239027-A7D6-4408-B282-0A60B965D721}">
      <dgm:prSet/>
      <dgm:spPr>
        <a:solidFill>
          <a:schemeClr val="accent6">
            <a:lumMod val="60000"/>
            <a:lumOff val="40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b="1" dirty="0">
              <a:solidFill>
                <a:schemeClr val="tx1"/>
              </a:solidFill>
            </a:rPr>
            <a:t>Контроль за согласованием оценочных процедур с Рособрнадзором </a:t>
          </a:r>
        </a:p>
      </dgm:t>
    </dgm:pt>
    <dgm:pt modelId="{A9DAF8A8-2F50-4BB3-8C90-D7D5334C1065}" type="parTrans" cxnId="{5ED06FD8-0C47-49B8-85DC-2D00EE147274}">
      <dgm:prSet/>
      <dgm:spPr/>
      <dgm:t>
        <a:bodyPr/>
        <a:lstStyle/>
        <a:p>
          <a:endParaRPr lang="ru-RU"/>
        </a:p>
      </dgm:t>
    </dgm:pt>
    <dgm:pt modelId="{65702067-E559-472B-BFCC-3E911F9E94C0}" type="sibTrans" cxnId="{5ED06FD8-0C47-49B8-85DC-2D00EE147274}">
      <dgm:prSet/>
      <dgm:spPr/>
      <dgm:t>
        <a:bodyPr/>
        <a:lstStyle/>
        <a:p>
          <a:endParaRPr lang="ru-RU"/>
        </a:p>
      </dgm:t>
    </dgm:pt>
    <dgm:pt modelId="{576EEEAB-24BF-4462-A70C-1811AB2B2C81}">
      <dgm:prSet/>
      <dgm:spPr>
        <a:solidFill>
          <a:schemeClr val="accent4">
            <a:lumMod val="40000"/>
            <a:lumOff val="60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b="1" dirty="0">
              <a:solidFill>
                <a:schemeClr val="tx1"/>
              </a:solidFill>
            </a:rPr>
            <a:t>Контроль за использованием результатов оценочных процедур </a:t>
          </a:r>
        </a:p>
      </dgm:t>
    </dgm:pt>
    <dgm:pt modelId="{01BB7880-6F92-46C2-9390-A90708709DC6}" type="parTrans" cxnId="{4193FDA3-62F1-4B69-BEA6-F692E5A38564}">
      <dgm:prSet/>
      <dgm:spPr/>
      <dgm:t>
        <a:bodyPr/>
        <a:lstStyle/>
        <a:p>
          <a:endParaRPr lang="ru-RU"/>
        </a:p>
      </dgm:t>
    </dgm:pt>
    <dgm:pt modelId="{323425FC-9495-4F77-90CC-80858BDDD92E}" type="sibTrans" cxnId="{4193FDA3-62F1-4B69-BEA6-F692E5A38564}">
      <dgm:prSet/>
      <dgm:spPr/>
      <dgm:t>
        <a:bodyPr/>
        <a:lstStyle/>
        <a:p>
          <a:endParaRPr lang="ru-RU"/>
        </a:p>
      </dgm:t>
    </dgm:pt>
    <dgm:pt modelId="{B6D23510-7654-416D-B72C-42AE99CC68E3}">
      <dgm:prSet/>
      <dgm:spPr>
        <a:solidFill>
          <a:schemeClr val="accent4">
            <a:lumMod val="40000"/>
            <a:lumOff val="60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b="1" dirty="0">
              <a:solidFill>
                <a:schemeClr val="tx1"/>
              </a:solidFill>
            </a:rPr>
            <a:t>Рекомендации по использованию результатов оценочных процедур </a:t>
          </a:r>
        </a:p>
      </dgm:t>
    </dgm:pt>
    <dgm:pt modelId="{F39B4141-A405-426E-9860-425141975B31}" type="parTrans" cxnId="{68C9A29F-E289-4D3A-9910-E3BA849B5C84}">
      <dgm:prSet/>
      <dgm:spPr/>
      <dgm:t>
        <a:bodyPr/>
        <a:lstStyle/>
        <a:p>
          <a:endParaRPr lang="ru-RU"/>
        </a:p>
      </dgm:t>
    </dgm:pt>
    <dgm:pt modelId="{5505C817-BF5F-494B-8C79-EFBD3B4D6364}" type="sibTrans" cxnId="{68C9A29F-E289-4D3A-9910-E3BA849B5C84}">
      <dgm:prSet/>
      <dgm:spPr/>
      <dgm:t>
        <a:bodyPr/>
        <a:lstStyle/>
        <a:p>
          <a:endParaRPr lang="ru-RU"/>
        </a:p>
      </dgm:t>
    </dgm:pt>
    <dgm:pt modelId="{85CE1047-A603-4596-AEDB-18717D528B72}">
      <dgm:prSet/>
      <dgm:spPr>
        <a:solidFill>
          <a:srgbClr val="E86F62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b="1" dirty="0">
              <a:solidFill>
                <a:schemeClr val="tx1"/>
              </a:solidFill>
            </a:rPr>
            <a:t>Обновление содержания программ,  учебников, дидактических материалов </a:t>
          </a:r>
        </a:p>
      </dgm:t>
    </dgm:pt>
    <dgm:pt modelId="{E3ED565D-1644-40B5-A52E-AAB848C796E3}" type="parTrans" cxnId="{1C02B348-C8B8-4EC3-ADAE-888C65C49DDF}">
      <dgm:prSet/>
      <dgm:spPr/>
      <dgm:t>
        <a:bodyPr/>
        <a:lstStyle/>
        <a:p>
          <a:endParaRPr lang="ru-RU"/>
        </a:p>
      </dgm:t>
    </dgm:pt>
    <dgm:pt modelId="{B28695F1-E806-47E9-B0A0-8A2CB30ECD27}" type="sibTrans" cxnId="{1C02B348-C8B8-4EC3-ADAE-888C65C49DDF}">
      <dgm:prSet/>
      <dgm:spPr/>
      <dgm:t>
        <a:bodyPr/>
        <a:lstStyle/>
        <a:p>
          <a:endParaRPr lang="ru-RU"/>
        </a:p>
      </dgm:t>
    </dgm:pt>
    <dgm:pt modelId="{87725AA4-4136-4FD6-B3AF-EC1C50A59E6D}">
      <dgm:prSet/>
      <dgm:spPr>
        <a:solidFill>
          <a:srgbClr val="E86F62"/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b="1" dirty="0">
              <a:solidFill>
                <a:schemeClr val="tx1"/>
              </a:solidFill>
            </a:rPr>
            <a:t>Повышение квалификации учителей и руководителей </a:t>
          </a:r>
        </a:p>
      </dgm:t>
    </dgm:pt>
    <dgm:pt modelId="{CE6A982D-BF89-400C-8E09-9E8DA3109449}" type="parTrans" cxnId="{D436D35F-916F-4B0A-BC2A-0BD72F55B510}">
      <dgm:prSet/>
      <dgm:spPr/>
      <dgm:t>
        <a:bodyPr/>
        <a:lstStyle/>
        <a:p>
          <a:endParaRPr lang="ru-RU"/>
        </a:p>
      </dgm:t>
    </dgm:pt>
    <dgm:pt modelId="{B54262A8-3063-435C-A5A9-AF65CDF0234A}" type="sibTrans" cxnId="{D436D35F-916F-4B0A-BC2A-0BD72F55B510}">
      <dgm:prSet/>
      <dgm:spPr/>
      <dgm:t>
        <a:bodyPr/>
        <a:lstStyle/>
        <a:p>
          <a:endParaRPr lang="ru-RU"/>
        </a:p>
      </dgm:t>
    </dgm:pt>
    <dgm:pt modelId="{78325B61-DA73-49C3-9BCF-A17D3848CF21}">
      <dgm:prSet/>
      <dgm:spPr>
        <a:solidFill>
          <a:schemeClr val="accent4">
            <a:lumMod val="40000"/>
            <a:lumOff val="60000"/>
          </a:schemeClr>
        </a:solidFill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t>
        <a:bodyPr/>
        <a:lstStyle/>
        <a:p>
          <a:r>
            <a:rPr lang="ru-RU" b="1" dirty="0">
              <a:solidFill>
                <a:schemeClr val="tx1"/>
              </a:solidFill>
            </a:rPr>
            <a:t>Контроль за соблюдением установленных количественных норм </a:t>
          </a:r>
        </a:p>
      </dgm:t>
    </dgm:pt>
    <dgm:pt modelId="{7EB0B5D6-ED99-4BE4-BDB2-C6CF38ABE6B7}" type="parTrans" cxnId="{C155A976-2677-4CF7-BF32-F980F86D9FD3}">
      <dgm:prSet/>
      <dgm:spPr/>
      <dgm:t>
        <a:bodyPr/>
        <a:lstStyle/>
        <a:p>
          <a:endParaRPr lang="ru-RU"/>
        </a:p>
      </dgm:t>
    </dgm:pt>
    <dgm:pt modelId="{04C7B16B-9888-4B58-91C7-4B093729FA12}" type="sibTrans" cxnId="{C155A976-2677-4CF7-BF32-F980F86D9FD3}">
      <dgm:prSet/>
      <dgm:spPr/>
      <dgm:t>
        <a:bodyPr/>
        <a:lstStyle/>
        <a:p>
          <a:endParaRPr lang="ru-RU"/>
        </a:p>
      </dgm:t>
    </dgm:pt>
    <dgm:pt modelId="{E5477D6C-6BF0-4154-82CE-00E49BAF54AD}" type="pres">
      <dgm:prSet presAssocID="{5B5392C1-2D9C-4A65-A2B0-D5C5AFB9C95D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3CBBB6BB-DDD8-4852-BB38-D650B28D6FEE}" type="pres">
      <dgm:prSet presAssocID="{632C41D6-824E-448F-BEA9-0FC0781CD4AB}" presName="hierRoot1" presStyleCnt="0">
        <dgm:presLayoutVars>
          <dgm:hierBranch val="init"/>
        </dgm:presLayoutVars>
      </dgm:prSet>
      <dgm:spPr/>
    </dgm:pt>
    <dgm:pt modelId="{2B330825-A060-4C23-A7CA-DC010EEE0B07}" type="pres">
      <dgm:prSet presAssocID="{632C41D6-824E-448F-BEA9-0FC0781CD4AB}" presName="rootComposite1" presStyleCnt="0"/>
      <dgm:spPr/>
    </dgm:pt>
    <dgm:pt modelId="{B3791CD3-38AA-4F89-AAFC-5274DD6B17DA}" type="pres">
      <dgm:prSet presAssocID="{632C41D6-824E-448F-BEA9-0FC0781CD4AB}" presName="rootText1" presStyleLbl="node0" presStyleIdx="0" presStyleCnt="1" custScaleX="392801" custScaleY="175518">
        <dgm:presLayoutVars>
          <dgm:chPref val="3"/>
        </dgm:presLayoutVars>
      </dgm:prSet>
      <dgm:spPr/>
    </dgm:pt>
    <dgm:pt modelId="{5C80AE8A-D468-47CD-8384-8B778D30EE0E}" type="pres">
      <dgm:prSet presAssocID="{632C41D6-824E-448F-BEA9-0FC0781CD4AB}" presName="rootConnector1" presStyleLbl="node1" presStyleIdx="0" presStyleCnt="0"/>
      <dgm:spPr/>
    </dgm:pt>
    <dgm:pt modelId="{0A484B24-5E9F-413A-AD0B-30FA88A0C8BA}" type="pres">
      <dgm:prSet presAssocID="{632C41D6-824E-448F-BEA9-0FC0781CD4AB}" presName="hierChild2" presStyleCnt="0"/>
      <dgm:spPr/>
    </dgm:pt>
    <dgm:pt modelId="{F7A27224-5CB8-480D-AD5B-4060270BC77D}" type="pres">
      <dgm:prSet presAssocID="{BA147017-19F0-4E49-BCD2-01388EFD2217}" presName="Name37" presStyleLbl="parChTrans1D2" presStyleIdx="0" presStyleCnt="3"/>
      <dgm:spPr/>
    </dgm:pt>
    <dgm:pt modelId="{B28F2FA7-2676-411C-86AA-3E8CFE0B1C72}" type="pres">
      <dgm:prSet presAssocID="{3C73547C-AFFD-4E60-83F5-1B0443F2C80F}" presName="hierRoot2" presStyleCnt="0">
        <dgm:presLayoutVars>
          <dgm:hierBranch val="init"/>
        </dgm:presLayoutVars>
      </dgm:prSet>
      <dgm:spPr/>
    </dgm:pt>
    <dgm:pt modelId="{D04EBD3F-FA79-402E-B564-E08651AD1F94}" type="pres">
      <dgm:prSet presAssocID="{3C73547C-AFFD-4E60-83F5-1B0443F2C80F}" presName="rootComposite" presStyleCnt="0"/>
      <dgm:spPr/>
    </dgm:pt>
    <dgm:pt modelId="{9C41DC07-EEE1-4E90-B128-59D6DDE708BC}" type="pres">
      <dgm:prSet presAssocID="{3C73547C-AFFD-4E60-83F5-1B0443F2C80F}" presName="rootText" presStyleLbl="node2" presStyleIdx="0" presStyleCnt="3" custScaleX="277996" custScaleY="175518">
        <dgm:presLayoutVars>
          <dgm:chPref val="3"/>
        </dgm:presLayoutVars>
      </dgm:prSet>
      <dgm:spPr/>
    </dgm:pt>
    <dgm:pt modelId="{A5761D0B-ED15-4E3F-B153-18D915AAEDE6}" type="pres">
      <dgm:prSet presAssocID="{3C73547C-AFFD-4E60-83F5-1B0443F2C80F}" presName="rootConnector" presStyleLbl="node2" presStyleIdx="0" presStyleCnt="3"/>
      <dgm:spPr/>
    </dgm:pt>
    <dgm:pt modelId="{7712ED7D-ECDF-49AD-B123-0C62C70D92CD}" type="pres">
      <dgm:prSet presAssocID="{3C73547C-AFFD-4E60-83F5-1B0443F2C80F}" presName="hierChild4" presStyleCnt="0"/>
      <dgm:spPr/>
    </dgm:pt>
    <dgm:pt modelId="{90861448-2473-4E4B-A8C9-D0862E81B2B5}" type="pres">
      <dgm:prSet presAssocID="{6898932B-3F49-4993-8A23-49115CD57AC4}" presName="Name37" presStyleLbl="parChTrans1D3" presStyleIdx="0" presStyleCnt="9"/>
      <dgm:spPr/>
    </dgm:pt>
    <dgm:pt modelId="{DF5E9817-E49B-4D3D-B839-FEA5526E12FB}" type="pres">
      <dgm:prSet presAssocID="{65AA716E-02B8-456C-B560-DB0CEF430679}" presName="hierRoot2" presStyleCnt="0">
        <dgm:presLayoutVars>
          <dgm:hierBranch val="init"/>
        </dgm:presLayoutVars>
      </dgm:prSet>
      <dgm:spPr/>
    </dgm:pt>
    <dgm:pt modelId="{DC06BAA2-9C09-4F1D-8408-470BDD5D5F0A}" type="pres">
      <dgm:prSet presAssocID="{65AA716E-02B8-456C-B560-DB0CEF430679}" presName="rootComposite" presStyleCnt="0"/>
      <dgm:spPr/>
    </dgm:pt>
    <dgm:pt modelId="{5D2B4F86-84A9-4AB1-8A3A-4A837396791A}" type="pres">
      <dgm:prSet presAssocID="{65AA716E-02B8-456C-B560-DB0CEF430679}" presName="rootText" presStyleLbl="node3" presStyleIdx="0" presStyleCnt="9" custScaleX="158593" custScaleY="118738">
        <dgm:presLayoutVars>
          <dgm:chPref val="3"/>
        </dgm:presLayoutVars>
      </dgm:prSet>
      <dgm:spPr/>
    </dgm:pt>
    <dgm:pt modelId="{DE4EB1D0-1279-4B85-BB01-64A2EF3FBF62}" type="pres">
      <dgm:prSet presAssocID="{65AA716E-02B8-456C-B560-DB0CEF430679}" presName="rootConnector" presStyleLbl="node3" presStyleIdx="0" presStyleCnt="9"/>
      <dgm:spPr/>
    </dgm:pt>
    <dgm:pt modelId="{4FD7FE7B-30A8-4D26-9537-2B0FF51B55E1}" type="pres">
      <dgm:prSet presAssocID="{65AA716E-02B8-456C-B560-DB0CEF430679}" presName="hierChild4" presStyleCnt="0"/>
      <dgm:spPr/>
    </dgm:pt>
    <dgm:pt modelId="{933D2B00-ECF1-4A3B-AF2F-9B94FDFB5689}" type="pres">
      <dgm:prSet presAssocID="{65AA716E-02B8-456C-B560-DB0CEF430679}" presName="hierChild5" presStyleCnt="0"/>
      <dgm:spPr/>
    </dgm:pt>
    <dgm:pt modelId="{0801954F-B6EB-4117-9E11-B7DCF685B1BD}" type="pres">
      <dgm:prSet presAssocID="{021CD952-9FCB-4C90-A802-B85A2AA0E827}" presName="Name37" presStyleLbl="parChTrans1D3" presStyleIdx="1" presStyleCnt="9"/>
      <dgm:spPr/>
    </dgm:pt>
    <dgm:pt modelId="{5C485354-5E25-4325-A9C9-233CB95DFD72}" type="pres">
      <dgm:prSet presAssocID="{A06498C6-067E-47E0-8711-0E12104EBB16}" presName="hierRoot2" presStyleCnt="0">
        <dgm:presLayoutVars>
          <dgm:hierBranch val="init"/>
        </dgm:presLayoutVars>
      </dgm:prSet>
      <dgm:spPr/>
    </dgm:pt>
    <dgm:pt modelId="{C95AA282-F64B-4BA3-95C3-EB8EAF7AFB9F}" type="pres">
      <dgm:prSet presAssocID="{A06498C6-067E-47E0-8711-0E12104EBB16}" presName="rootComposite" presStyleCnt="0"/>
      <dgm:spPr/>
    </dgm:pt>
    <dgm:pt modelId="{B0CD3314-DB66-49D6-B805-D354AE4C78A9}" type="pres">
      <dgm:prSet presAssocID="{A06498C6-067E-47E0-8711-0E12104EBB16}" presName="rootText" presStyleLbl="node3" presStyleIdx="1" presStyleCnt="9" custScaleX="161305" custScaleY="119977">
        <dgm:presLayoutVars>
          <dgm:chPref val="3"/>
        </dgm:presLayoutVars>
      </dgm:prSet>
      <dgm:spPr/>
    </dgm:pt>
    <dgm:pt modelId="{2AB76D68-60D3-46BF-8B66-CE31A27CC5D9}" type="pres">
      <dgm:prSet presAssocID="{A06498C6-067E-47E0-8711-0E12104EBB16}" presName="rootConnector" presStyleLbl="node3" presStyleIdx="1" presStyleCnt="9"/>
      <dgm:spPr/>
    </dgm:pt>
    <dgm:pt modelId="{EF437F91-BD41-4D86-BA5E-40FF2CB0FB97}" type="pres">
      <dgm:prSet presAssocID="{A06498C6-067E-47E0-8711-0E12104EBB16}" presName="hierChild4" presStyleCnt="0"/>
      <dgm:spPr/>
    </dgm:pt>
    <dgm:pt modelId="{ED5B1E6B-C968-437A-81BE-DE7A0CDE05CB}" type="pres">
      <dgm:prSet presAssocID="{A06498C6-067E-47E0-8711-0E12104EBB16}" presName="hierChild5" presStyleCnt="0"/>
      <dgm:spPr/>
    </dgm:pt>
    <dgm:pt modelId="{D0739175-9E92-4F9F-8BA3-F1D8ED1A872D}" type="pres">
      <dgm:prSet presAssocID="{17A63DE3-51B9-43FE-813E-CC13D4491AE0}" presName="Name37" presStyleLbl="parChTrans1D3" presStyleIdx="2" presStyleCnt="9"/>
      <dgm:spPr/>
    </dgm:pt>
    <dgm:pt modelId="{C7F791D7-0C3A-4AE8-91F4-AE95AA48D841}" type="pres">
      <dgm:prSet presAssocID="{F4806AA1-9AC1-48F2-9CE2-4C2AF7072745}" presName="hierRoot2" presStyleCnt="0">
        <dgm:presLayoutVars>
          <dgm:hierBranch val="init"/>
        </dgm:presLayoutVars>
      </dgm:prSet>
      <dgm:spPr/>
    </dgm:pt>
    <dgm:pt modelId="{82E60A6A-9269-45DE-8B9C-0C1E8CA561FE}" type="pres">
      <dgm:prSet presAssocID="{F4806AA1-9AC1-48F2-9CE2-4C2AF7072745}" presName="rootComposite" presStyleCnt="0"/>
      <dgm:spPr/>
    </dgm:pt>
    <dgm:pt modelId="{4BB206D1-23A1-429D-A6BD-D3807B88F66E}" type="pres">
      <dgm:prSet presAssocID="{F4806AA1-9AC1-48F2-9CE2-4C2AF7072745}" presName="rootText" presStyleLbl="node3" presStyleIdx="2" presStyleCnt="9" custScaleX="161648" custScaleY="116111">
        <dgm:presLayoutVars>
          <dgm:chPref val="3"/>
        </dgm:presLayoutVars>
      </dgm:prSet>
      <dgm:spPr/>
    </dgm:pt>
    <dgm:pt modelId="{28008C5F-7A43-4785-921B-2AA3B8F5015E}" type="pres">
      <dgm:prSet presAssocID="{F4806AA1-9AC1-48F2-9CE2-4C2AF7072745}" presName="rootConnector" presStyleLbl="node3" presStyleIdx="2" presStyleCnt="9"/>
      <dgm:spPr/>
    </dgm:pt>
    <dgm:pt modelId="{26564D2A-255D-46F4-B363-1C1B411A398E}" type="pres">
      <dgm:prSet presAssocID="{F4806AA1-9AC1-48F2-9CE2-4C2AF7072745}" presName="hierChild4" presStyleCnt="0"/>
      <dgm:spPr/>
    </dgm:pt>
    <dgm:pt modelId="{DAC3AE42-CB6D-4B95-A655-B837EEC5F545}" type="pres">
      <dgm:prSet presAssocID="{F4806AA1-9AC1-48F2-9CE2-4C2AF7072745}" presName="hierChild5" presStyleCnt="0"/>
      <dgm:spPr/>
    </dgm:pt>
    <dgm:pt modelId="{D7B20E84-C492-49C1-A63D-19A2D8352CC0}" type="pres">
      <dgm:prSet presAssocID="{3C73547C-AFFD-4E60-83F5-1B0443F2C80F}" presName="hierChild5" presStyleCnt="0"/>
      <dgm:spPr/>
    </dgm:pt>
    <dgm:pt modelId="{4C8F5CBF-3EBE-44AC-954B-36F968EB9A5B}" type="pres">
      <dgm:prSet presAssocID="{9A152A1E-85AA-4B43-9F68-A6A7B3CF010F}" presName="Name37" presStyleLbl="parChTrans1D2" presStyleIdx="1" presStyleCnt="3"/>
      <dgm:spPr/>
    </dgm:pt>
    <dgm:pt modelId="{BFC45A91-9D2F-43E3-8C1F-6E13C43E35D2}" type="pres">
      <dgm:prSet presAssocID="{DEB1737F-0AA0-4C15-BC9F-FDAB41547E42}" presName="hierRoot2" presStyleCnt="0">
        <dgm:presLayoutVars>
          <dgm:hierBranch val="init"/>
        </dgm:presLayoutVars>
      </dgm:prSet>
      <dgm:spPr/>
    </dgm:pt>
    <dgm:pt modelId="{A224A028-7957-4D96-A31F-570EE9ED58E0}" type="pres">
      <dgm:prSet presAssocID="{DEB1737F-0AA0-4C15-BC9F-FDAB41547E42}" presName="rootComposite" presStyleCnt="0"/>
      <dgm:spPr/>
    </dgm:pt>
    <dgm:pt modelId="{E2321F2C-A4EC-4F5F-8C33-0F5FA456B6A8}" type="pres">
      <dgm:prSet presAssocID="{DEB1737F-0AA0-4C15-BC9F-FDAB41547E42}" presName="rootText" presStyleLbl="node2" presStyleIdx="1" presStyleCnt="3" custScaleX="277996" custScaleY="175518" custLinFactNeighborY="5101">
        <dgm:presLayoutVars>
          <dgm:chPref val="3"/>
        </dgm:presLayoutVars>
      </dgm:prSet>
      <dgm:spPr/>
    </dgm:pt>
    <dgm:pt modelId="{ABA9B99E-5597-4CB8-96AA-045FEF1AAA45}" type="pres">
      <dgm:prSet presAssocID="{DEB1737F-0AA0-4C15-BC9F-FDAB41547E42}" presName="rootConnector" presStyleLbl="node2" presStyleIdx="1" presStyleCnt="3"/>
      <dgm:spPr/>
    </dgm:pt>
    <dgm:pt modelId="{51528F12-DF9A-4A98-A8FF-D6BED4883C10}" type="pres">
      <dgm:prSet presAssocID="{DEB1737F-0AA0-4C15-BC9F-FDAB41547E42}" presName="hierChild4" presStyleCnt="0"/>
      <dgm:spPr/>
    </dgm:pt>
    <dgm:pt modelId="{78522DEC-0ABD-41EF-88FF-F188FDC85B0E}" type="pres">
      <dgm:prSet presAssocID="{A9DAF8A8-2F50-4BB3-8C90-D7D5334C1065}" presName="Name37" presStyleLbl="parChTrans1D3" presStyleIdx="3" presStyleCnt="9"/>
      <dgm:spPr/>
    </dgm:pt>
    <dgm:pt modelId="{1FAF720D-B695-4658-90CD-D6E77F60A66B}" type="pres">
      <dgm:prSet presAssocID="{F3239027-A7D6-4408-B282-0A60B965D721}" presName="hierRoot2" presStyleCnt="0">
        <dgm:presLayoutVars>
          <dgm:hierBranch val="init"/>
        </dgm:presLayoutVars>
      </dgm:prSet>
      <dgm:spPr/>
    </dgm:pt>
    <dgm:pt modelId="{D411B166-ADF7-47E0-A520-B4C5DE799606}" type="pres">
      <dgm:prSet presAssocID="{F3239027-A7D6-4408-B282-0A60B965D721}" presName="rootComposite" presStyleCnt="0"/>
      <dgm:spPr/>
    </dgm:pt>
    <dgm:pt modelId="{5E66EC84-2683-42BC-BB6C-663085E062C4}" type="pres">
      <dgm:prSet presAssocID="{F3239027-A7D6-4408-B282-0A60B965D721}" presName="rootText" presStyleLbl="node3" presStyleIdx="3" presStyleCnt="9" custScaleX="168343" custScaleY="122296">
        <dgm:presLayoutVars>
          <dgm:chPref val="3"/>
        </dgm:presLayoutVars>
      </dgm:prSet>
      <dgm:spPr/>
    </dgm:pt>
    <dgm:pt modelId="{82E8D813-DECC-4667-A347-E19AC9346C01}" type="pres">
      <dgm:prSet presAssocID="{F3239027-A7D6-4408-B282-0A60B965D721}" presName="rootConnector" presStyleLbl="node3" presStyleIdx="3" presStyleCnt="9"/>
      <dgm:spPr/>
    </dgm:pt>
    <dgm:pt modelId="{1F120576-57EB-4364-ABE4-755E02D74D62}" type="pres">
      <dgm:prSet presAssocID="{F3239027-A7D6-4408-B282-0A60B965D721}" presName="hierChild4" presStyleCnt="0"/>
      <dgm:spPr/>
    </dgm:pt>
    <dgm:pt modelId="{CF03B2BC-1BF5-414D-89A5-05DA12D5FFA4}" type="pres">
      <dgm:prSet presAssocID="{F3239027-A7D6-4408-B282-0A60B965D721}" presName="hierChild5" presStyleCnt="0"/>
      <dgm:spPr/>
    </dgm:pt>
    <dgm:pt modelId="{ECEF7576-D1F1-4F39-8956-0E2A90FBB88D}" type="pres">
      <dgm:prSet presAssocID="{7EB0B5D6-ED99-4BE4-BDB2-C6CF38ABE6B7}" presName="Name37" presStyleLbl="parChTrans1D3" presStyleIdx="4" presStyleCnt="9"/>
      <dgm:spPr/>
    </dgm:pt>
    <dgm:pt modelId="{E30431A6-D6C2-4BC9-A348-D8D3C8F4508B}" type="pres">
      <dgm:prSet presAssocID="{78325B61-DA73-49C3-9BCF-A17D3848CF21}" presName="hierRoot2" presStyleCnt="0">
        <dgm:presLayoutVars>
          <dgm:hierBranch val="init"/>
        </dgm:presLayoutVars>
      </dgm:prSet>
      <dgm:spPr/>
    </dgm:pt>
    <dgm:pt modelId="{AC6441C2-FE5A-43A6-AB4E-314F8A41316A}" type="pres">
      <dgm:prSet presAssocID="{78325B61-DA73-49C3-9BCF-A17D3848CF21}" presName="rootComposite" presStyleCnt="0"/>
      <dgm:spPr/>
    </dgm:pt>
    <dgm:pt modelId="{24367C46-551F-4045-9684-7C9A9060123E}" type="pres">
      <dgm:prSet presAssocID="{78325B61-DA73-49C3-9BCF-A17D3848CF21}" presName="rootText" presStyleLbl="node3" presStyleIdx="4" presStyleCnt="9" custScaleX="167582" custScaleY="112065">
        <dgm:presLayoutVars>
          <dgm:chPref val="3"/>
        </dgm:presLayoutVars>
      </dgm:prSet>
      <dgm:spPr/>
    </dgm:pt>
    <dgm:pt modelId="{5DB8D2DC-6250-4BAA-B4ED-0B05C92A51AE}" type="pres">
      <dgm:prSet presAssocID="{78325B61-DA73-49C3-9BCF-A17D3848CF21}" presName="rootConnector" presStyleLbl="node3" presStyleIdx="4" presStyleCnt="9"/>
      <dgm:spPr/>
    </dgm:pt>
    <dgm:pt modelId="{983F9ED3-7A72-4240-B0B8-EA8ECFC87BC5}" type="pres">
      <dgm:prSet presAssocID="{78325B61-DA73-49C3-9BCF-A17D3848CF21}" presName="hierChild4" presStyleCnt="0"/>
      <dgm:spPr/>
    </dgm:pt>
    <dgm:pt modelId="{449AAA2F-9DF2-42B2-8E98-6BFC13416EDE}" type="pres">
      <dgm:prSet presAssocID="{78325B61-DA73-49C3-9BCF-A17D3848CF21}" presName="hierChild5" presStyleCnt="0"/>
      <dgm:spPr/>
    </dgm:pt>
    <dgm:pt modelId="{9228810A-A105-4C3B-9D75-E0201E6DD212}" type="pres">
      <dgm:prSet presAssocID="{01BB7880-6F92-46C2-9390-A90708709DC6}" presName="Name37" presStyleLbl="parChTrans1D3" presStyleIdx="5" presStyleCnt="9"/>
      <dgm:spPr/>
    </dgm:pt>
    <dgm:pt modelId="{2ED982E6-0802-41CC-AAEF-72D5424027A4}" type="pres">
      <dgm:prSet presAssocID="{576EEEAB-24BF-4462-A70C-1811AB2B2C81}" presName="hierRoot2" presStyleCnt="0">
        <dgm:presLayoutVars>
          <dgm:hierBranch val="init"/>
        </dgm:presLayoutVars>
      </dgm:prSet>
      <dgm:spPr/>
    </dgm:pt>
    <dgm:pt modelId="{787082F7-C33E-421D-A64A-BC5E7DC0AEEF}" type="pres">
      <dgm:prSet presAssocID="{576EEEAB-24BF-4462-A70C-1811AB2B2C81}" presName="rootComposite" presStyleCnt="0"/>
      <dgm:spPr/>
    </dgm:pt>
    <dgm:pt modelId="{DDFD4CFC-FCC1-4162-BD2C-AD0633FA8F6B}" type="pres">
      <dgm:prSet presAssocID="{576EEEAB-24BF-4462-A70C-1811AB2B2C81}" presName="rootText" presStyleLbl="node3" presStyleIdx="5" presStyleCnt="9" custScaleX="171979" custScaleY="123723">
        <dgm:presLayoutVars>
          <dgm:chPref val="3"/>
        </dgm:presLayoutVars>
      </dgm:prSet>
      <dgm:spPr/>
    </dgm:pt>
    <dgm:pt modelId="{42B8A420-66C1-4C97-907C-50A3DE6ADD8E}" type="pres">
      <dgm:prSet presAssocID="{576EEEAB-24BF-4462-A70C-1811AB2B2C81}" presName="rootConnector" presStyleLbl="node3" presStyleIdx="5" presStyleCnt="9"/>
      <dgm:spPr/>
    </dgm:pt>
    <dgm:pt modelId="{F5D75A38-F9BA-4FE5-9C83-ABB29868853E}" type="pres">
      <dgm:prSet presAssocID="{576EEEAB-24BF-4462-A70C-1811AB2B2C81}" presName="hierChild4" presStyleCnt="0"/>
      <dgm:spPr/>
    </dgm:pt>
    <dgm:pt modelId="{AE7ADBFA-9D2E-4BA1-89BA-2173ED9D9E54}" type="pres">
      <dgm:prSet presAssocID="{576EEEAB-24BF-4462-A70C-1811AB2B2C81}" presName="hierChild5" presStyleCnt="0"/>
      <dgm:spPr/>
    </dgm:pt>
    <dgm:pt modelId="{BE6F02F8-02B4-459C-B558-9F909D4111EF}" type="pres">
      <dgm:prSet presAssocID="{DEB1737F-0AA0-4C15-BC9F-FDAB41547E42}" presName="hierChild5" presStyleCnt="0"/>
      <dgm:spPr/>
    </dgm:pt>
    <dgm:pt modelId="{07C850D0-D63D-46BD-A7B7-56FD4094165F}" type="pres">
      <dgm:prSet presAssocID="{6F872DD7-150A-4EED-BE89-F56AB66623F2}" presName="Name37" presStyleLbl="parChTrans1D2" presStyleIdx="2" presStyleCnt="3"/>
      <dgm:spPr/>
    </dgm:pt>
    <dgm:pt modelId="{673F1D33-3DDC-49E2-A821-1BB78B1481B7}" type="pres">
      <dgm:prSet presAssocID="{7E23F6CB-D7B8-4B8E-A09E-592CBE284685}" presName="hierRoot2" presStyleCnt="0">
        <dgm:presLayoutVars>
          <dgm:hierBranch val="init"/>
        </dgm:presLayoutVars>
      </dgm:prSet>
      <dgm:spPr/>
    </dgm:pt>
    <dgm:pt modelId="{056B3A10-AF3D-470B-B7C0-06B6AAD31426}" type="pres">
      <dgm:prSet presAssocID="{7E23F6CB-D7B8-4B8E-A09E-592CBE284685}" presName="rootComposite" presStyleCnt="0"/>
      <dgm:spPr/>
    </dgm:pt>
    <dgm:pt modelId="{C22F9C6E-E1A9-489B-B38A-17BC074A71E5}" type="pres">
      <dgm:prSet presAssocID="{7E23F6CB-D7B8-4B8E-A09E-592CBE284685}" presName="rootText" presStyleLbl="node2" presStyleIdx="2" presStyleCnt="3" custScaleX="277996" custScaleY="175518">
        <dgm:presLayoutVars>
          <dgm:chPref val="3"/>
        </dgm:presLayoutVars>
      </dgm:prSet>
      <dgm:spPr/>
    </dgm:pt>
    <dgm:pt modelId="{EF83B6E8-C70D-41D1-9E80-5D7300E9CA3F}" type="pres">
      <dgm:prSet presAssocID="{7E23F6CB-D7B8-4B8E-A09E-592CBE284685}" presName="rootConnector" presStyleLbl="node2" presStyleIdx="2" presStyleCnt="3"/>
      <dgm:spPr/>
    </dgm:pt>
    <dgm:pt modelId="{4B8CD826-A0F6-4B90-ABFB-B0BCDA4A22FD}" type="pres">
      <dgm:prSet presAssocID="{7E23F6CB-D7B8-4B8E-A09E-592CBE284685}" presName="hierChild4" presStyleCnt="0"/>
      <dgm:spPr/>
    </dgm:pt>
    <dgm:pt modelId="{0FD4859E-B7FD-4526-9621-B143FE4B700B}" type="pres">
      <dgm:prSet presAssocID="{F39B4141-A405-426E-9860-425141975B31}" presName="Name37" presStyleLbl="parChTrans1D3" presStyleIdx="6" presStyleCnt="9"/>
      <dgm:spPr/>
    </dgm:pt>
    <dgm:pt modelId="{A0EBBE08-DEC7-4083-9E36-E41F26D40EA0}" type="pres">
      <dgm:prSet presAssocID="{B6D23510-7654-416D-B72C-42AE99CC68E3}" presName="hierRoot2" presStyleCnt="0">
        <dgm:presLayoutVars>
          <dgm:hierBranch val="init"/>
        </dgm:presLayoutVars>
      </dgm:prSet>
      <dgm:spPr/>
    </dgm:pt>
    <dgm:pt modelId="{3AED0655-DA03-4242-BBE2-96E317A49129}" type="pres">
      <dgm:prSet presAssocID="{B6D23510-7654-416D-B72C-42AE99CC68E3}" presName="rootComposite" presStyleCnt="0"/>
      <dgm:spPr/>
    </dgm:pt>
    <dgm:pt modelId="{2580E695-1069-4DB0-B584-906164E98B45}" type="pres">
      <dgm:prSet presAssocID="{B6D23510-7654-416D-B72C-42AE99CC68E3}" presName="rootText" presStyleLbl="node3" presStyleIdx="6" presStyleCnt="9" custScaleX="165068" custScaleY="117586">
        <dgm:presLayoutVars>
          <dgm:chPref val="3"/>
        </dgm:presLayoutVars>
      </dgm:prSet>
      <dgm:spPr/>
    </dgm:pt>
    <dgm:pt modelId="{BF066A49-D506-4511-A12B-D2CBD3CB2029}" type="pres">
      <dgm:prSet presAssocID="{B6D23510-7654-416D-B72C-42AE99CC68E3}" presName="rootConnector" presStyleLbl="node3" presStyleIdx="6" presStyleCnt="9"/>
      <dgm:spPr/>
    </dgm:pt>
    <dgm:pt modelId="{693401AC-AB00-4088-986E-12FDE146E009}" type="pres">
      <dgm:prSet presAssocID="{B6D23510-7654-416D-B72C-42AE99CC68E3}" presName="hierChild4" presStyleCnt="0"/>
      <dgm:spPr/>
    </dgm:pt>
    <dgm:pt modelId="{DCCDFB8D-39AD-4D6F-BFB4-8E49091D24EB}" type="pres">
      <dgm:prSet presAssocID="{B6D23510-7654-416D-B72C-42AE99CC68E3}" presName="hierChild5" presStyleCnt="0"/>
      <dgm:spPr/>
    </dgm:pt>
    <dgm:pt modelId="{73ECF7B7-F026-410D-83E2-009AA119A58E}" type="pres">
      <dgm:prSet presAssocID="{E3ED565D-1644-40B5-A52E-AAB848C796E3}" presName="Name37" presStyleLbl="parChTrans1D3" presStyleIdx="7" presStyleCnt="9"/>
      <dgm:spPr/>
    </dgm:pt>
    <dgm:pt modelId="{DBD42C52-4CCE-47C4-A5B8-9FAE6B7B51B5}" type="pres">
      <dgm:prSet presAssocID="{85CE1047-A603-4596-AEDB-18717D528B72}" presName="hierRoot2" presStyleCnt="0">
        <dgm:presLayoutVars>
          <dgm:hierBranch val="init"/>
        </dgm:presLayoutVars>
      </dgm:prSet>
      <dgm:spPr/>
    </dgm:pt>
    <dgm:pt modelId="{6612BDB8-DCFC-451A-812E-BAF5CEB98D57}" type="pres">
      <dgm:prSet presAssocID="{85CE1047-A603-4596-AEDB-18717D528B72}" presName="rootComposite" presStyleCnt="0"/>
      <dgm:spPr/>
    </dgm:pt>
    <dgm:pt modelId="{B6B85E33-7F19-45DB-9A32-B03709DC278E}" type="pres">
      <dgm:prSet presAssocID="{85CE1047-A603-4596-AEDB-18717D528B72}" presName="rootText" presStyleLbl="node3" presStyleIdx="7" presStyleCnt="9" custScaleX="163704" custScaleY="114746">
        <dgm:presLayoutVars>
          <dgm:chPref val="3"/>
        </dgm:presLayoutVars>
      </dgm:prSet>
      <dgm:spPr/>
    </dgm:pt>
    <dgm:pt modelId="{D4DAD619-E2BF-450A-A0E0-71A52C82C0D6}" type="pres">
      <dgm:prSet presAssocID="{85CE1047-A603-4596-AEDB-18717D528B72}" presName="rootConnector" presStyleLbl="node3" presStyleIdx="7" presStyleCnt="9"/>
      <dgm:spPr/>
    </dgm:pt>
    <dgm:pt modelId="{881F91CA-FCE7-46F9-A722-BB0A8AB97895}" type="pres">
      <dgm:prSet presAssocID="{85CE1047-A603-4596-AEDB-18717D528B72}" presName="hierChild4" presStyleCnt="0"/>
      <dgm:spPr/>
    </dgm:pt>
    <dgm:pt modelId="{4579B3B9-DF36-42FF-A96D-57B66E778BBA}" type="pres">
      <dgm:prSet presAssocID="{85CE1047-A603-4596-AEDB-18717D528B72}" presName="hierChild5" presStyleCnt="0"/>
      <dgm:spPr/>
    </dgm:pt>
    <dgm:pt modelId="{FD790ADB-3940-41FB-858C-93B1416F6AEA}" type="pres">
      <dgm:prSet presAssocID="{CE6A982D-BF89-400C-8E09-9E8DA3109449}" presName="Name37" presStyleLbl="parChTrans1D3" presStyleIdx="8" presStyleCnt="9"/>
      <dgm:spPr/>
    </dgm:pt>
    <dgm:pt modelId="{36FDF2AE-F020-4B60-8137-49F0DCB24B4F}" type="pres">
      <dgm:prSet presAssocID="{87725AA4-4136-4FD6-B3AF-EC1C50A59E6D}" presName="hierRoot2" presStyleCnt="0">
        <dgm:presLayoutVars>
          <dgm:hierBranch val="init"/>
        </dgm:presLayoutVars>
      </dgm:prSet>
      <dgm:spPr/>
    </dgm:pt>
    <dgm:pt modelId="{7847CF89-B893-469F-B69D-10AE7A10CE31}" type="pres">
      <dgm:prSet presAssocID="{87725AA4-4136-4FD6-B3AF-EC1C50A59E6D}" presName="rootComposite" presStyleCnt="0"/>
      <dgm:spPr/>
    </dgm:pt>
    <dgm:pt modelId="{74A3DCF8-7840-410F-8EE3-071B594F205F}" type="pres">
      <dgm:prSet presAssocID="{87725AA4-4136-4FD6-B3AF-EC1C50A59E6D}" presName="rootText" presStyleLbl="node3" presStyleIdx="8" presStyleCnt="9" custScaleX="166035" custScaleY="113540">
        <dgm:presLayoutVars>
          <dgm:chPref val="3"/>
        </dgm:presLayoutVars>
      </dgm:prSet>
      <dgm:spPr/>
    </dgm:pt>
    <dgm:pt modelId="{C01B4EEA-E495-4ED2-8606-5BC91FDF6950}" type="pres">
      <dgm:prSet presAssocID="{87725AA4-4136-4FD6-B3AF-EC1C50A59E6D}" presName="rootConnector" presStyleLbl="node3" presStyleIdx="8" presStyleCnt="9"/>
      <dgm:spPr/>
    </dgm:pt>
    <dgm:pt modelId="{A4F18D6D-3C87-45F0-B761-1B548DF787ED}" type="pres">
      <dgm:prSet presAssocID="{87725AA4-4136-4FD6-B3AF-EC1C50A59E6D}" presName="hierChild4" presStyleCnt="0"/>
      <dgm:spPr/>
    </dgm:pt>
    <dgm:pt modelId="{990D535E-27B3-4162-BF2C-D0CA47DEBA49}" type="pres">
      <dgm:prSet presAssocID="{87725AA4-4136-4FD6-B3AF-EC1C50A59E6D}" presName="hierChild5" presStyleCnt="0"/>
      <dgm:spPr/>
    </dgm:pt>
    <dgm:pt modelId="{29C5F8F0-8C14-4E12-B81F-CD31CC8DBB0C}" type="pres">
      <dgm:prSet presAssocID="{7E23F6CB-D7B8-4B8E-A09E-592CBE284685}" presName="hierChild5" presStyleCnt="0"/>
      <dgm:spPr/>
    </dgm:pt>
    <dgm:pt modelId="{686BCD1F-CB69-4241-AABF-5EDEAEF17791}" type="pres">
      <dgm:prSet presAssocID="{632C41D6-824E-448F-BEA9-0FC0781CD4AB}" presName="hierChild3" presStyleCnt="0"/>
      <dgm:spPr/>
    </dgm:pt>
  </dgm:ptLst>
  <dgm:cxnLst>
    <dgm:cxn modelId="{47A6CB02-800E-4360-975F-A2CDBF3DA459}" type="presOf" srcId="{78325B61-DA73-49C3-9BCF-A17D3848CF21}" destId="{24367C46-551F-4045-9684-7C9A9060123E}" srcOrd="0" destOrd="0" presId="urn:microsoft.com/office/officeart/2005/8/layout/orgChart1"/>
    <dgm:cxn modelId="{48F1370F-D2C3-4958-A649-186227516B29}" type="presOf" srcId="{DEB1737F-0AA0-4C15-BC9F-FDAB41547E42}" destId="{ABA9B99E-5597-4CB8-96AA-045FEF1AAA45}" srcOrd="1" destOrd="0" presId="urn:microsoft.com/office/officeart/2005/8/layout/orgChart1"/>
    <dgm:cxn modelId="{20539417-C774-4595-A2BB-E3D4589FF0BE}" type="presOf" srcId="{632C41D6-824E-448F-BEA9-0FC0781CD4AB}" destId="{B3791CD3-38AA-4F89-AAFC-5274DD6B17DA}" srcOrd="0" destOrd="0" presId="urn:microsoft.com/office/officeart/2005/8/layout/orgChart1"/>
    <dgm:cxn modelId="{D5B79C1C-CD8B-432F-BDD2-2E33DFE734FF}" type="presOf" srcId="{5B5392C1-2D9C-4A65-A2B0-D5C5AFB9C95D}" destId="{E5477D6C-6BF0-4154-82CE-00E49BAF54AD}" srcOrd="0" destOrd="0" presId="urn:microsoft.com/office/officeart/2005/8/layout/orgChart1"/>
    <dgm:cxn modelId="{1DAD7A1F-6A29-4E95-9BC6-C7DC1454E421}" type="presOf" srcId="{E3ED565D-1644-40B5-A52E-AAB848C796E3}" destId="{73ECF7B7-F026-410D-83E2-009AA119A58E}" srcOrd="0" destOrd="0" presId="urn:microsoft.com/office/officeart/2005/8/layout/orgChart1"/>
    <dgm:cxn modelId="{86112920-EEE6-413B-9811-9B0D87F7837B}" type="presOf" srcId="{DEB1737F-0AA0-4C15-BC9F-FDAB41547E42}" destId="{E2321F2C-A4EC-4F5F-8C33-0F5FA456B6A8}" srcOrd="0" destOrd="0" presId="urn:microsoft.com/office/officeart/2005/8/layout/orgChart1"/>
    <dgm:cxn modelId="{4F017925-3884-4AC0-B6E1-3FAB03926FBB}" type="presOf" srcId="{87725AA4-4136-4FD6-B3AF-EC1C50A59E6D}" destId="{C01B4EEA-E495-4ED2-8606-5BC91FDF6950}" srcOrd="1" destOrd="0" presId="urn:microsoft.com/office/officeart/2005/8/layout/orgChart1"/>
    <dgm:cxn modelId="{796CE525-6792-4F97-95B1-81C51037E192}" type="presOf" srcId="{87725AA4-4136-4FD6-B3AF-EC1C50A59E6D}" destId="{74A3DCF8-7840-410F-8EE3-071B594F205F}" srcOrd="0" destOrd="0" presId="urn:microsoft.com/office/officeart/2005/8/layout/orgChart1"/>
    <dgm:cxn modelId="{1B9B1826-E9F0-41F7-80B5-A77376527A57}" type="presOf" srcId="{85CE1047-A603-4596-AEDB-18717D528B72}" destId="{B6B85E33-7F19-45DB-9A32-B03709DC278E}" srcOrd="0" destOrd="0" presId="urn:microsoft.com/office/officeart/2005/8/layout/orgChart1"/>
    <dgm:cxn modelId="{23DAC828-6681-4D56-BDD0-9D56610F598D}" type="presOf" srcId="{65AA716E-02B8-456C-B560-DB0CEF430679}" destId="{5D2B4F86-84A9-4AB1-8A3A-4A837396791A}" srcOrd="0" destOrd="0" presId="urn:microsoft.com/office/officeart/2005/8/layout/orgChart1"/>
    <dgm:cxn modelId="{DC24E828-0852-4E7B-B526-785EB3134133}" srcId="{632C41D6-824E-448F-BEA9-0FC0781CD4AB}" destId="{7E23F6CB-D7B8-4B8E-A09E-592CBE284685}" srcOrd="2" destOrd="0" parTransId="{6F872DD7-150A-4EED-BE89-F56AB66623F2}" sibTransId="{36FA0F71-0310-4158-A966-E4C5ED46D46D}"/>
    <dgm:cxn modelId="{0280A33E-318A-4E48-A737-9075D3ECD381}" srcId="{3C73547C-AFFD-4E60-83F5-1B0443F2C80F}" destId="{65AA716E-02B8-456C-B560-DB0CEF430679}" srcOrd="0" destOrd="0" parTransId="{6898932B-3F49-4993-8A23-49115CD57AC4}" sibTransId="{125B20E0-5453-4174-9C21-209E1DDE9E6D}"/>
    <dgm:cxn modelId="{5145A95C-3DB4-43BC-A43D-157658206F3E}" type="presOf" srcId="{BA147017-19F0-4E49-BCD2-01388EFD2217}" destId="{F7A27224-5CB8-480D-AD5B-4060270BC77D}" srcOrd="0" destOrd="0" presId="urn:microsoft.com/office/officeart/2005/8/layout/orgChart1"/>
    <dgm:cxn modelId="{71E8685E-D4E6-4E99-BEAE-964086415542}" type="presOf" srcId="{F39B4141-A405-426E-9860-425141975B31}" destId="{0FD4859E-B7FD-4526-9621-B143FE4B700B}" srcOrd="0" destOrd="0" presId="urn:microsoft.com/office/officeart/2005/8/layout/orgChart1"/>
    <dgm:cxn modelId="{2CFC995E-F609-4856-A9DC-8146FCFC94A2}" srcId="{3C73547C-AFFD-4E60-83F5-1B0443F2C80F}" destId="{A06498C6-067E-47E0-8711-0E12104EBB16}" srcOrd="1" destOrd="0" parTransId="{021CD952-9FCB-4C90-A802-B85A2AA0E827}" sibTransId="{F5568D52-22EB-4B46-9795-BB8DCE19151A}"/>
    <dgm:cxn modelId="{D436D35F-916F-4B0A-BC2A-0BD72F55B510}" srcId="{7E23F6CB-D7B8-4B8E-A09E-592CBE284685}" destId="{87725AA4-4136-4FD6-B3AF-EC1C50A59E6D}" srcOrd="2" destOrd="0" parTransId="{CE6A982D-BF89-400C-8E09-9E8DA3109449}" sibTransId="{B54262A8-3063-435C-A5A9-AF65CDF0234A}"/>
    <dgm:cxn modelId="{CE123546-FCC7-4351-BA35-F2DDDF08ACAB}" type="presOf" srcId="{576EEEAB-24BF-4462-A70C-1811AB2B2C81}" destId="{42B8A420-66C1-4C97-907C-50A3DE6ADD8E}" srcOrd="1" destOrd="0" presId="urn:microsoft.com/office/officeart/2005/8/layout/orgChart1"/>
    <dgm:cxn modelId="{1C02B348-C8B8-4EC3-ADAE-888C65C49DDF}" srcId="{7E23F6CB-D7B8-4B8E-A09E-592CBE284685}" destId="{85CE1047-A603-4596-AEDB-18717D528B72}" srcOrd="1" destOrd="0" parTransId="{E3ED565D-1644-40B5-A52E-AAB848C796E3}" sibTransId="{B28695F1-E806-47E9-B0A0-8A2CB30ECD27}"/>
    <dgm:cxn modelId="{DA38BA70-7331-455A-B625-34611DFFC1DC}" type="presOf" srcId="{B6D23510-7654-416D-B72C-42AE99CC68E3}" destId="{2580E695-1069-4DB0-B584-906164E98B45}" srcOrd="0" destOrd="0" presId="urn:microsoft.com/office/officeart/2005/8/layout/orgChart1"/>
    <dgm:cxn modelId="{ED486472-C388-45FC-858C-F984E0BF28BE}" type="presOf" srcId="{632C41D6-824E-448F-BEA9-0FC0781CD4AB}" destId="{5C80AE8A-D468-47CD-8384-8B778D30EE0E}" srcOrd="1" destOrd="0" presId="urn:microsoft.com/office/officeart/2005/8/layout/orgChart1"/>
    <dgm:cxn modelId="{1B96FD74-C374-46ED-8172-202BD47F0E78}" type="presOf" srcId="{F4806AA1-9AC1-48F2-9CE2-4C2AF7072745}" destId="{28008C5F-7A43-4785-921B-2AA3B8F5015E}" srcOrd="1" destOrd="0" presId="urn:microsoft.com/office/officeart/2005/8/layout/orgChart1"/>
    <dgm:cxn modelId="{CC60CF55-8670-4B03-BCF0-6A221A4B6F8A}" type="presOf" srcId="{021CD952-9FCB-4C90-A802-B85A2AA0E827}" destId="{0801954F-B6EB-4117-9E11-B7DCF685B1BD}" srcOrd="0" destOrd="0" presId="urn:microsoft.com/office/officeart/2005/8/layout/orgChart1"/>
    <dgm:cxn modelId="{C155A976-2677-4CF7-BF32-F980F86D9FD3}" srcId="{DEB1737F-0AA0-4C15-BC9F-FDAB41547E42}" destId="{78325B61-DA73-49C3-9BCF-A17D3848CF21}" srcOrd="1" destOrd="0" parTransId="{7EB0B5D6-ED99-4BE4-BDB2-C6CF38ABE6B7}" sibTransId="{04C7B16B-9888-4B58-91C7-4B093729FA12}"/>
    <dgm:cxn modelId="{EA95A279-9CBA-4816-BD48-7926594D9D08}" srcId="{5B5392C1-2D9C-4A65-A2B0-D5C5AFB9C95D}" destId="{632C41D6-824E-448F-BEA9-0FC0781CD4AB}" srcOrd="0" destOrd="0" parTransId="{7089DF78-3EB2-4BA8-B4BF-1F2A6B9616B9}" sibTransId="{E99B3C02-2A49-47FA-9DA7-9A8C40954521}"/>
    <dgm:cxn modelId="{29A2907D-47A4-4E8F-8773-C6E5D669CF4E}" type="presOf" srcId="{F3239027-A7D6-4408-B282-0A60B965D721}" destId="{5E66EC84-2683-42BC-BB6C-663085E062C4}" srcOrd="0" destOrd="0" presId="urn:microsoft.com/office/officeart/2005/8/layout/orgChart1"/>
    <dgm:cxn modelId="{2C56AA80-2009-4539-8BBC-20C2A4097D1E}" srcId="{632C41D6-824E-448F-BEA9-0FC0781CD4AB}" destId="{3C73547C-AFFD-4E60-83F5-1B0443F2C80F}" srcOrd="0" destOrd="0" parTransId="{BA147017-19F0-4E49-BCD2-01388EFD2217}" sibTransId="{9000B2D9-DE11-42C7-A4CF-4402D689F94E}"/>
    <dgm:cxn modelId="{54DFB887-A865-4E95-B215-E90D41C5BE31}" type="presOf" srcId="{9A152A1E-85AA-4B43-9F68-A6A7B3CF010F}" destId="{4C8F5CBF-3EBE-44AC-954B-36F968EB9A5B}" srcOrd="0" destOrd="0" presId="urn:microsoft.com/office/officeart/2005/8/layout/orgChart1"/>
    <dgm:cxn modelId="{0E006A8C-44B3-44C5-A681-A9349B86846A}" type="presOf" srcId="{65AA716E-02B8-456C-B560-DB0CEF430679}" destId="{DE4EB1D0-1279-4B85-BB01-64A2EF3FBF62}" srcOrd="1" destOrd="0" presId="urn:microsoft.com/office/officeart/2005/8/layout/orgChart1"/>
    <dgm:cxn modelId="{4E4DF591-85AB-4DF0-8D3A-B7E6D64D872C}" type="presOf" srcId="{7EB0B5D6-ED99-4BE4-BDB2-C6CF38ABE6B7}" destId="{ECEF7576-D1F1-4F39-8956-0E2A90FBB88D}" srcOrd="0" destOrd="0" presId="urn:microsoft.com/office/officeart/2005/8/layout/orgChart1"/>
    <dgm:cxn modelId="{68C9A29F-E289-4D3A-9910-E3BA849B5C84}" srcId="{7E23F6CB-D7B8-4B8E-A09E-592CBE284685}" destId="{B6D23510-7654-416D-B72C-42AE99CC68E3}" srcOrd="0" destOrd="0" parTransId="{F39B4141-A405-426E-9860-425141975B31}" sibTransId="{5505C817-BF5F-494B-8C79-EFBD3B4D6364}"/>
    <dgm:cxn modelId="{4E45C19F-D6CF-4C35-9627-990AA63AFB03}" type="presOf" srcId="{6F872DD7-150A-4EED-BE89-F56AB66623F2}" destId="{07C850D0-D63D-46BD-A7B7-56FD4094165F}" srcOrd="0" destOrd="0" presId="urn:microsoft.com/office/officeart/2005/8/layout/orgChart1"/>
    <dgm:cxn modelId="{8B091EA3-39C0-4B75-95C8-5DC997A48BC2}" type="presOf" srcId="{6898932B-3F49-4993-8A23-49115CD57AC4}" destId="{90861448-2473-4E4B-A8C9-D0862E81B2B5}" srcOrd="0" destOrd="0" presId="urn:microsoft.com/office/officeart/2005/8/layout/orgChart1"/>
    <dgm:cxn modelId="{4193FDA3-62F1-4B69-BEA6-F692E5A38564}" srcId="{DEB1737F-0AA0-4C15-BC9F-FDAB41547E42}" destId="{576EEEAB-24BF-4462-A70C-1811AB2B2C81}" srcOrd="2" destOrd="0" parTransId="{01BB7880-6F92-46C2-9390-A90708709DC6}" sibTransId="{323425FC-9495-4F77-90CC-80858BDDD92E}"/>
    <dgm:cxn modelId="{0C76F3A4-4F5B-4070-AC12-BEDCF7F43770}" type="presOf" srcId="{01BB7880-6F92-46C2-9390-A90708709DC6}" destId="{9228810A-A105-4C3B-9D75-E0201E6DD212}" srcOrd="0" destOrd="0" presId="urn:microsoft.com/office/officeart/2005/8/layout/orgChart1"/>
    <dgm:cxn modelId="{C18CCAA6-8B90-475D-9A89-BAF136A80F4C}" srcId="{3C73547C-AFFD-4E60-83F5-1B0443F2C80F}" destId="{F4806AA1-9AC1-48F2-9CE2-4C2AF7072745}" srcOrd="2" destOrd="0" parTransId="{17A63DE3-51B9-43FE-813E-CC13D4491AE0}" sibTransId="{DEC5DFAF-C47C-4E03-8685-748A69DD78BD}"/>
    <dgm:cxn modelId="{E0DDFFAC-FA03-4E08-81DF-78F435B42E96}" type="presOf" srcId="{A9DAF8A8-2F50-4BB3-8C90-D7D5334C1065}" destId="{78522DEC-0ABD-41EF-88FF-F188FDC85B0E}" srcOrd="0" destOrd="0" presId="urn:microsoft.com/office/officeart/2005/8/layout/orgChart1"/>
    <dgm:cxn modelId="{138F16B9-E646-4028-A3A9-D777686E23C0}" type="presOf" srcId="{85CE1047-A603-4596-AEDB-18717D528B72}" destId="{D4DAD619-E2BF-450A-A0E0-71A52C82C0D6}" srcOrd="1" destOrd="0" presId="urn:microsoft.com/office/officeart/2005/8/layout/orgChart1"/>
    <dgm:cxn modelId="{45BD3BBC-56D3-4D6E-9FAE-D5FEC6FE6692}" type="presOf" srcId="{7E23F6CB-D7B8-4B8E-A09E-592CBE284685}" destId="{C22F9C6E-E1A9-489B-B38A-17BC074A71E5}" srcOrd="0" destOrd="0" presId="urn:microsoft.com/office/officeart/2005/8/layout/orgChart1"/>
    <dgm:cxn modelId="{C5184DBC-9C93-4F7B-81D9-B01E6F50921E}" type="presOf" srcId="{CE6A982D-BF89-400C-8E09-9E8DA3109449}" destId="{FD790ADB-3940-41FB-858C-93B1416F6AEA}" srcOrd="0" destOrd="0" presId="urn:microsoft.com/office/officeart/2005/8/layout/orgChart1"/>
    <dgm:cxn modelId="{9ECA20BE-B3F9-4720-82FE-B6DE3E729F17}" type="presOf" srcId="{17A63DE3-51B9-43FE-813E-CC13D4491AE0}" destId="{D0739175-9E92-4F9F-8BA3-F1D8ED1A872D}" srcOrd="0" destOrd="0" presId="urn:microsoft.com/office/officeart/2005/8/layout/orgChart1"/>
    <dgm:cxn modelId="{D605DAC1-A2B6-4D23-B06B-8B6508544345}" type="presOf" srcId="{A06498C6-067E-47E0-8711-0E12104EBB16}" destId="{2AB76D68-60D3-46BF-8B66-CE31A27CC5D9}" srcOrd="1" destOrd="0" presId="urn:microsoft.com/office/officeart/2005/8/layout/orgChart1"/>
    <dgm:cxn modelId="{C68B4BD4-C0EA-49A3-A6D0-2A99715D53B0}" type="presOf" srcId="{A06498C6-067E-47E0-8711-0E12104EBB16}" destId="{B0CD3314-DB66-49D6-B805-D354AE4C78A9}" srcOrd="0" destOrd="0" presId="urn:microsoft.com/office/officeart/2005/8/layout/orgChart1"/>
    <dgm:cxn modelId="{1E61ECD6-88E8-4A18-A0D1-84461967D399}" type="presOf" srcId="{78325B61-DA73-49C3-9BCF-A17D3848CF21}" destId="{5DB8D2DC-6250-4BAA-B4ED-0B05C92A51AE}" srcOrd="1" destOrd="0" presId="urn:microsoft.com/office/officeart/2005/8/layout/orgChart1"/>
    <dgm:cxn modelId="{5ED06FD8-0C47-49B8-85DC-2D00EE147274}" srcId="{DEB1737F-0AA0-4C15-BC9F-FDAB41547E42}" destId="{F3239027-A7D6-4408-B282-0A60B965D721}" srcOrd="0" destOrd="0" parTransId="{A9DAF8A8-2F50-4BB3-8C90-D7D5334C1065}" sibTransId="{65702067-E559-472B-BFCC-3E911F9E94C0}"/>
    <dgm:cxn modelId="{073685D8-8CD5-47B3-A482-D1DC3B5F51B6}" type="presOf" srcId="{7E23F6CB-D7B8-4B8E-A09E-592CBE284685}" destId="{EF83B6E8-C70D-41D1-9E80-5D7300E9CA3F}" srcOrd="1" destOrd="0" presId="urn:microsoft.com/office/officeart/2005/8/layout/orgChart1"/>
    <dgm:cxn modelId="{6BDEA3E8-DEEC-435B-96FC-F4BE01ADF6CE}" type="presOf" srcId="{3C73547C-AFFD-4E60-83F5-1B0443F2C80F}" destId="{A5761D0B-ED15-4E3F-B153-18D915AAEDE6}" srcOrd="1" destOrd="0" presId="urn:microsoft.com/office/officeart/2005/8/layout/orgChart1"/>
    <dgm:cxn modelId="{9C9BC9EB-0106-4736-B032-8AEEC4CA2C6C}" type="presOf" srcId="{F3239027-A7D6-4408-B282-0A60B965D721}" destId="{82E8D813-DECC-4667-A347-E19AC9346C01}" srcOrd="1" destOrd="0" presId="urn:microsoft.com/office/officeart/2005/8/layout/orgChart1"/>
    <dgm:cxn modelId="{598301F5-568C-4C23-B63B-AE36497EDBD2}" type="presOf" srcId="{3C73547C-AFFD-4E60-83F5-1B0443F2C80F}" destId="{9C41DC07-EEE1-4E90-B128-59D6DDE708BC}" srcOrd="0" destOrd="0" presId="urn:microsoft.com/office/officeart/2005/8/layout/orgChart1"/>
    <dgm:cxn modelId="{445BF2F6-FCE9-421F-8E6B-65E5966D9C55}" type="presOf" srcId="{576EEEAB-24BF-4462-A70C-1811AB2B2C81}" destId="{DDFD4CFC-FCC1-4162-BD2C-AD0633FA8F6B}" srcOrd="0" destOrd="0" presId="urn:microsoft.com/office/officeart/2005/8/layout/orgChart1"/>
    <dgm:cxn modelId="{2564D4F9-5586-4E29-A148-B84605A1DDAA}" type="presOf" srcId="{B6D23510-7654-416D-B72C-42AE99CC68E3}" destId="{BF066A49-D506-4511-A12B-D2CBD3CB2029}" srcOrd="1" destOrd="0" presId="urn:microsoft.com/office/officeart/2005/8/layout/orgChart1"/>
    <dgm:cxn modelId="{6BFDF9FC-F20C-4EB1-BFD3-D2BCF556FCEB}" type="presOf" srcId="{F4806AA1-9AC1-48F2-9CE2-4C2AF7072745}" destId="{4BB206D1-23A1-429D-A6BD-D3807B88F66E}" srcOrd="0" destOrd="0" presId="urn:microsoft.com/office/officeart/2005/8/layout/orgChart1"/>
    <dgm:cxn modelId="{890264FD-49D4-44AB-B746-4E90E949102F}" srcId="{632C41D6-824E-448F-BEA9-0FC0781CD4AB}" destId="{DEB1737F-0AA0-4C15-BC9F-FDAB41547E42}" srcOrd="1" destOrd="0" parTransId="{9A152A1E-85AA-4B43-9F68-A6A7B3CF010F}" sibTransId="{2C84F778-1D99-4F51-BD89-FA07CBE79492}"/>
    <dgm:cxn modelId="{1A724291-3EBE-4C62-AC2D-1E84EA08C352}" type="presParOf" srcId="{E5477D6C-6BF0-4154-82CE-00E49BAF54AD}" destId="{3CBBB6BB-DDD8-4852-BB38-D650B28D6FEE}" srcOrd="0" destOrd="0" presId="urn:microsoft.com/office/officeart/2005/8/layout/orgChart1"/>
    <dgm:cxn modelId="{6F4ED3F0-4BCC-4447-8711-C33858065F2A}" type="presParOf" srcId="{3CBBB6BB-DDD8-4852-BB38-D650B28D6FEE}" destId="{2B330825-A060-4C23-A7CA-DC010EEE0B07}" srcOrd="0" destOrd="0" presId="urn:microsoft.com/office/officeart/2005/8/layout/orgChart1"/>
    <dgm:cxn modelId="{4B7D3ADB-C101-4AFA-9115-E1E320FD75BC}" type="presParOf" srcId="{2B330825-A060-4C23-A7CA-DC010EEE0B07}" destId="{B3791CD3-38AA-4F89-AAFC-5274DD6B17DA}" srcOrd="0" destOrd="0" presId="urn:microsoft.com/office/officeart/2005/8/layout/orgChart1"/>
    <dgm:cxn modelId="{32FCC513-D163-4295-813C-907D476F2B45}" type="presParOf" srcId="{2B330825-A060-4C23-A7CA-DC010EEE0B07}" destId="{5C80AE8A-D468-47CD-8384-8B778D30EE0E}" srcOrd="1" destOrd="0" presId="urn:microsoft.com/office/officeart/2005/8/layout/orgChart1"/>
    <dgm:cxn modelId="{13D83375-F381-4299-A026-EF34EBA7952A}" type="presParOf" srcId="{3CBBB6BB-DDD8-4852-BB38-D650B28D6FEE}" destId="{0A484B24-5E9F-413A-AD0B-30FA88A0C8BA}" srcOrd="1" destOrd="0" presId="urn:microsoft.com/office/officeart/2005/8/layout/orgChart1"/>
    <dgm:cxn modelId="{89C25D52-D0A2-46AC-9BE2-CA65FED1154C}" type="presParOf" srcId="{0A484B24-5E9F-413A-AD0B-30FA88A0C8BA}" destId="{F7A27224-5CB8-480D-AD5B-4060270BC77D}" srcOrd="0" destOrd="0" presId="urn:microsoft.com/office/officeart/2005/8/layout/orgChart1"/>
    <dgm:cxn modelId="{6FCBABAA-A8B3-4A32-B24D-AE310E6453E6}" type="presParOf" srcId="{0A484B24-5E9F-413A-AD0B-30FA88A0C8BA}" destId="{B28F2FA7-2676-411C-86AA-3E8CFE0B1C72}" srcOrd="1" destOrd="0" presId="urn:microsoft.com/office/officeart/2005/8/layout/orgChart1"/>
    <dgm:cxn modelId="{0EDF2A3B-3434-4135-B2DB-4A53654E2F8C}" type="presParOf" srcId="{B28F2FA7-2676-411C-86AA-3E8CFE0B1C72}" destId="{D04EBD3F-FA79-402E-B564-E08651AD1F94}" srcOrd="0" destOrd="0" presId="urn:microsoft.com/office/officeart/2005/8/layout/orgChart1"/>
    <dgm:cxn modelId="{5882CFE2-7EB1-42EE-AA13-CD58DB04C95B}" type="presParOf" srcId="{D04EBD3F-FA79-402E-B564-E08651AD1F94}" destId="{9C41DC07-EEE1-4E90-B128-59D6DDE708BC}" srcOrd="0" destOrd="0" presId="urn:microsoft.com/office/officeart/2005/8/layout/orgChart1"/>
    <dgm:cxn modelId="{F7A19239-A934-4397-96DD-1B8B0AC3A1F1}" type="presParOf" srcId="{D04EBD3F-FA79-402E-B564-E08651AD1F94}" destId="{A5761D0B-ED15-4E3F-B153-18D915AAEDE6}" srcOrd="1" destOrd="0" presId="urn:microsoft.com/office/officeart/2005/8/layout/orgChart1"/>
    <dgm:cxn modelId="{C6E48A42-62C9-4D58-8872-EA448FA98F22}" type="presParOf" srcId="{B28F2FA7-2676-411C-86AA-3E8CFE0B1C72}" destId="{7712ED7D-ECDF-49AD-B123-0C62C70D92CD}" srcOrd="1" destOrd="0" presId="urn:microsoft.com/office/officeart/2005/8/layout/orgChart1"/>
    <dgm:cxn modelId="{03CD4544-A728-4113-9C6A-1D9D5A99968A}" type="presParOf" srcId="{7712ED7D-ECDF-49AD-B123-0C62C70D92CD}" destId="{90861448-2473-4E4B-A8C9-D0862E81B2B5}" srcOrd="0" destOrd="0" presId="urn:microsoft.com/office/officeart/2005/8/layout/orgChart1"/>
    <dgm:cxn modelId="{2421D3FE-0126-4925-9DC1-071EDA06F1A8}" type="presParOf" srcId="{7712ED7D-ECDF-49AD-B123-0C62C70D92CD}" destId="{DF5E9817-E49B-4D3D-B839-FEA5526E12FB}" srcOrd="1" destOrd="0" presId="urn:microsoft.com/office/officeart/2005/8/layout/orgChart1"/>
    <dgm:cxn modelId="{97774A11-29FD-4B47-BE34-343A6BED6283}" type="presParOf" srcId="{DF5E9817-E49B-4D3D-B839-FEA5526E12FB}" destId="{DC06BAA2-9C09-4F1D-8408-470BDD5D5F0A}" srcOrd="0" destOrd="0" presId="urn:microsoft.com/office/officeart/2005/8/layout/orgChart1"/>
    <dgm:cxn modelId="{A90B3CDF-55BF-4337-88C9-4C75C7C3F9A5}" type="presParOf" srcId="{DC06BAA2-9C09-4F1D-8408-470BDD5D5F0A}" destId="{5D2B4F86-84A9-4AB1-8A3A-4A837396791A}" srcOrd="0" destOrd="0" presId="urn:microsoft.com/office/officeart/2005/8/layout/orgChart1"/>
    <dgm:cxn modelId="{B36C54FD-CEDC-4DC9-A038-ACB113EEFE95}" type="presParOf" srcId="{DC06BAA2-9C09-4F1D-8408-470BDD5D5F0A}" destId="{DE4EB1D0-1279-4B85-BB01-64A2EF3FBF62}" srcOrd="1" destOrd="0" presId="urn:microsoft.com/office/officeart/2005/8/layout/orgChart1"/>
    <dgm:cxn modelId="{2C08C718-15DF-4609-B413-3FF08FD35A18}" type="presParOf" srcId="{DF5E9817-E49B-4D3D-B839-FEA5526E12FB}" destId="{4FD7FE7B-30A8-4D26-9537-2B0FF51B55E1}" srcOrd="1" destOrd="0" presId="urn:microsoft.com/office/officeart/2005/8/layout/orgChart1"/>
    <dgm:cxn modelId="{BA5CF0AF-F9C6-461B-B019-56F5A2BD3F78}" type="presParOf" srcId="{DF5E9817-E49B-4D3D-B839-FEA5526E12FB}" destId="{933D2B00-ECF1-4A3B-AF2F-9B94FDFB5689}" srcOrd="2" destOrd="0" presId="urn:microsoft.com/office/officeart/2005/8/layout/orgChart1"/>
    <dgm:cxn modelId="{C416A441-F045-4C3C-B493-EBC69E49AAF6}" type="presParOf" srcId="{7712ED7D-ECDF-49AD-B123-0C62C70D92CD}" destId="{0801954F-B6EB-4117-9E11-B7DCF685B1BD}" srcOrd="2" destOrd="0" presId="urn:microsoft.com/office/officeart/2005/8/layout/orgChart1"/>
    <dgm:cxn modelId="{C431E2E1-466D-4DE6-A5A7-0376EDE6F766}" type="presParOf" srcId="{7712ED7D-ECDF-49AD-B123-0C62C70D92CD}" destId="{5C485354-5E25-4325-A9C9-233CB95DFD72}" srcOrd="3" destOrd="0" presId="urn:microsoft.com/office/officeart/2005/8/layout/orgChart1"/>
    <dgm:cxn modelId="{CFE4C0A2-0532-4367-84B4-24DC394FB14E}" type="presParOf" srcId="{5C485354-5E25-4325-A9C9-233CB95DFD72}" destId="{C95AA282-F64B-4BA3-95C3-EB8EAF7AFB9F}" srcOrd="0" destOrd="0" presId="urn:microsoft.com/office/officeart/2005/8/layout/orgChart1"/>
    <dgm:cxn modelId="{A4672103-B808-473B-8A17-F16E4A62E7A3}" type="presParOf" srcId="{C95AA282-F64B-4BA3-95C3-EB8EAF7AFB9F}" destId="{B0CD3314-DB66-49D6-B805-D354AE4C78A9}" srcOrd="0" destOrd="0" presId="urn:microsoft.com/office/officeart/2005/8/layout/orgChart1"/>
    <dgm:cxn modelId="{7A4F480D-9145-403F-B968-15F8FE20C80A}" type="presParOf" srcId="{C95AA282-F64B-4BA3-95C3-EB8EAF7AFB9F}" destId="{2AB76D68-60D3-46BF-8B66-CE31A27CC5D9}" srcOrd="1" destOrd="0" presId="urn:microsoft.com/office/officeart/2005/8/layout/orgChart1"/>
    <dgm:cxn modelId="{86DC3A5D-041C-40FA-9742-A0E0AAF3EA98}" type="presParOf" srcId="{5C485354-5E25-4325-A9C9-233CB95DFD72}" destId="{EF437F91-BD41-4D86-BA5E-40FF2CB0FB97}" srcOrd="1" destOrd="0" presId="urn:microsoft.com/office/officeart/2005/8/layout/orgChart1"/>
    <dgm:cxn modelId="{670FB8FE-ECD0-4152-B5BB-EC8913304B70}" type="presParOf" srcId="{5C485354-5E25-4325-A9C9-233CB95DFD72}" destId="{ED5B1E6B-C968-437A-81BE-DE7A0CDE05CB}" srcOrd="2" destOrd="0" presId="urn:microsoft.com/office/officeart/2005/8/layout/orgChart1"/>
    <dgm:cxn modelId="{4A480ABE-7CCF-465E-B77B-194BD8A99F4B}" type="presParOf" srcId="{7712ED7D-ECDF-49AD-B123-0C62C70D92CD}" destId="{D0739175-9E92-4F9F-8BA3-F1D8ED1A872D}" srcOrd="4" destOrd="0" presId="urn:microsoft.com/office/officeart/2005/8/layout/orgChart1"/>
    <dgm:cxn modelId="{BF907C45-B277-4693-A4B3-75736AF753FE}" type="presParOf" srcId="{7712ED7D-ECDF-49AD-B123-0C62C70D92CD}" destId="{C7F791D7-0C3A-4AE8-91F4-AE95AA48D841}" srcOrd="5" destOrd="0" presId="urn:microsoft.com/office/officeart/2005/8/layout/orgChart1"/>
    <dgm:cxn modelId="{3465CEC8-70CD-4B04-84AB-0EDDA7849CAB}" type="presParOf" srcId="{C7F791D7-0C3A-4AE8-91F4-AE95AA48D841}" destId="{82E60A6A-9269-45DE-8B9C-0C1E8CA561FE}" srcOrd="0" destOrd="0" presId="urn:microsoft.com/office/officeart/2005/8/layout/orgChart1"/>
    <dgm:cxn modelId="{D5D96B45-FB9F-44EF-A0B5-28EE8A21405F}" type="presParOf" srcId="{82E60A6A-9269-45DE-8B9C-0C1E8CA561FE}" destId="{4BB206D1-23A1-429D-A6BD-D3807B88F66E}" srcOrd="0" destOrd="0" presId="urn:microsoft.com/office/officeart/2005/8/layout/orgChart1"/>
    <dgm:cxn modelId="{CD16686A-85CF-4D75-8470-3070710D9F1B}" type="presParOf" srcId="{82E60A6A-9269-45DE-8B9C-0C1E8CA561FE}" destId="{28008C5F-7A43-4785-921B-2AA3B8F5015E}" srcOrd="1" destOrd="0" presId="urn:microsoft.com/office/officeart/2005/8/layout/orgChart1"/>
    <dgm:cxn modelId="{6BC5F12A-BCE8-4069-83CA-3907B0C87E37}" type="presParOf" srcId="{C7F791D7-0C3A-4AE8-91F4-AE95AA48D841}" destId="{26564D2A-255D-46F4-B363-1C1B411A398E}" srcOrd="1" destOrd="0" presId="urn:microsoft.com/office/officeart/2005/8/layout/orgChart1"/>
    <dgm:cxn modelId="{64F656FB-12C5-4D97-9B7D-0A23942EC21D}" type="presParOf" srcId="{C7F791D7-0C3A-4AE8-91F4-AE95AA48D841}" destId="{DAC3AE42-CB6D-4B95-A655-B837EEC5F545}" srcOrd="2" destOrd="0" presId="urn:microsoft.com/office/officeart/2005/8/layout/orgChart1"/>
    <dgm:cxn modelId="{C09F9010-CD33-4C23-A9B6-F49D83E59575}" type="presParOf" srcId="{B28F2FA7-2676-411C-86AA-3E8CFE0B1C72}" destId="{D7B20E84-C492-49C1-A63D-19A2D8352CC0}" srcOrd="2" destOrd="0" presId="urn:microsoft.com/office/officeart/2005/8/layout/orgChart1"/>
    <dgm:cxn modelId="{9F8EF834-7869-4C59-ABD0-FCADCC14AC7F}" type="presParOf" srcId="{0A484B24-5E9F-413A-AD0B-30FA88A0C8BA}" destId="{4C8F5CBF-3EBE-44AC-954B-36F968EB9A5B}" srcOrd="2" destOrd="0" presId="urn:microsoft.com/office/officeart/2005/8/layout/orgChart1"/>
    <dgm:cxn modelId="{F8DD8B2F-7B21-4690-8A84-966191EA3AE6}" type="presParOf" srcId="{0A484B24-5E9F-413A-AD0B-30FA88A0C8BA}" destId="{BFC45A91-9D2F-43E3-8C1F-6E13C43E35D2}" srcOrd="3" destOrd="0" presId="urn:microsoft.com/office/officeart/2005/8/layout/orgChart1"/>
    <dgm:cxn modelId="{432C7B74-A207-4A40-BD18-4AE80BC1F79D}" type="presParOf" srcId="{BFC45A91-9D2F-43E3-8C1F-6E13C43E35D2}" destId="{A224A028-7957-4D96-A31F-570EE9ED58E0}" srcOrd="0" destOrd="0" presId="urn:microsoft.com/office/officeart/2005/8/layout/orgChart1"/>
    <dgm:cxn modelId="{92221E92-07DA-4DB5-978B-41360C1A39C8}" type="presParOf" srcId="{A224A028-7957-4D96-A31F-570EE9ED58E0}" destId="{E2321F2C-A4EC-4F5F-8C33-0F5FA456B6A8}" srcOrd="0" destOrd="0" presId="urn:microsoft.com/office/officeart/2005/8/layout/orgChart1"/>
    <dgm:cxn modelId="{141A8B9A-93F1-457B-A195-8BB9DEBB160E}" type="presParOf" srcId="{A224A028-7957-4D96-A31F-570EE9ED58E0}" destId="{ABA9B99E-5597-4CB8-96AA-045FEF1AAA45}" srcOrd="1" destOrd="0" presId="urn:microsoft.com/office/officeart/2005/8/layout/orgChart1"/>
    <dgm:cxn modelId="{E3EF7FEB-0089-4DF1-8FD0-66BC8346168A}" type="presParOf" srcId="{BFC45A91-9D2F-43E3-8C1F-6E13C43E35D2}" destId="{51528F12-DF9A-4A98-A8FF-D6BED4883C10}" srcOrd="1" destOrd="0" presId="urn:microsoft.com/office/officeart/2005/8/layout/orgChart1"/>
    <dgm:cxn modelId="{EFB41AC1-E25C-4E80-911D-F7EA270FB431}" type="presParOf" srcId="{51528F12-DF9A-4A98-A8FF-D6BED4883C10}" destId="{78522DEC-0ABD-41EF-88FF-F188FDC85B0E}" srcOrd="0" destOrd="0" presId="urn:microsoft.com/office/officeart/2005/8/layout/orgChart1"/>
    <dgm:cxn modelId="{05534836-1372-465A-9752-429E066AC06A}" type="presParOf" srcId="{51528F12-DF9A-4A98-A8FF-D6BED4883C10}" destId="{1FAF720D-B695-4658-90CD-D6E77F60A66B}" srcOrd="1" destOrd="0" presId="urn:microsoft.com/office/officeart/2005/8/layout/orgChart1"/>
    <dgm:cxn modelId="{13D592A3-03EA-441E-8D0D-BF9C1BE9231C}" type="presParOf" srcId="{1FAF720D-B695-4658-90CD-D6E77F60A66B}" destId="{D411B166-ADF7-47E0-A520-B4C5DE799606}" srcOrd="0" destOrd="0" presId="urn:microsoft.com/office/officeart/2005/8/layout/orgChart1"/>
    <dgm:cxn modelId="{429E02A0-F5C0-4226-A0FF-F78B4D3267C3}" type="presParOf" srcId="{D411B166-ADF7-47E0-A520-B4C5DE799606}" destId="{5E66EC84-2683-42BC-BB6C-663085E062C4}" srcOrd="0" destOrd="0" presId="urn:microsoft.com/office/officeart/2005/8/layout/orgChart1"/>
    <dgm:cxn modelId="{86AF4DE1-D342-47AD-BB87-EECFA69B88ED}" type="presParOf" srcId="{D411B166-ADF7-47E0-A520-B4C5DE799606}" destId="{82E8D813-DECC-4667-A347-E19AC9346C01}" srcOrd="1" destOrd="0" presId="urn:microsoft.com/office/officeart/2005/8/layout/orgChart1"/>
    <dgm:cxn modelId="{4DD3AA11-CCA6-42E9-83D1-5B1C94549DDB}" type="presParOf" srcId="{1FAF720D-B695-4658-90CD-D6E77F60A66B}" destId="{1F120576-57EB-4364-ABE4-755E02D74D62}" srcOrd="1" destOrd="0" presId="urn:microsoft.com/office/officeart/2005/8/layout/orgChart1"/>
    <dgm:cxn modelId="{0A78911A-85D2-4770-9375-62E57AE32BA5}" type="presParOf" srcId="{1FAF720D-B695-4658-90CD-D6E77F60A66B}" destId="{CF03B2BC-1BF5-414D-89A5-05DA12D5FFA4}" srcOrd="2" destOrd="0" presId="urn:microsoft.com/office/officeart/2005/8/layout/orgChart1"/>
    <dgm:cxn modelId="{99397249-0DC4-4B5E-A146-9EFD6F751A87}" type="presParOf" srcId="{51528F12-DF9A-4A98-A8FF-D6BED4883C10}" destId="{ECEF7576-D1F1-4F39-8956-0E2A90FBB88D}" srcOrd="2" destOrd="0" presId="urn:microsoft.com/office/officeart/2005/8/layout/orgChart1"/>
    <dgm:cxn modelId="{C34E0B0E-DBE4-4EDA-ACD7-E2EBC7A09AB4}" type="presParOf" srcId="{51528F12-DF9A-4A98-A8FF-D6BED4883C10}" destId="{E30431A6-D6C2-4BC9-A348-D8D3C8F4508B}" srcOrd="3" destOrd="0" presId="urn:microsoft.com/office/officeart/2005/8/layout/orgChart1"/>
    <dgm:cxn modelId="{F9455114-2787-4EBE-B196-7E7A709989D7}" type="presParOf" srcId="{E30431A6-D6C2-4BC9-A348-D8D3C8F4508B}" destId="{AC6441C2-FE5A-43A6-AB4E-314F8A41316A}" srcOrd="0" destOrd="0" presId="urn:microsoft.com/office/officeart/2005/8/layout/orgChart1"/>
    <dgm:cxn modelId="{DBAAF9F2-0033-4BB9-BC88-462B1E9190C8}" type="presParOf" srcId="{AC6441C2-FE5A-43A6-AB4E-314F8A41316A}" destId="{24367C46-551F-4045-9684-7C9A9060123E}" srcOrd="0" destOrd="0" presId="urn:microsoft.com/office/officeart/2005/8/layout/orgChart1"/>
    <dgm:cxn modelId="{EBB77EB6-3B86-4272-A78C-E321974E9C84}" type="presParOf" srcId="{AC6441C2-FE5A-43A6-AB4E-314F8A41316A}" destId="{5DB8D2DC-6250-4BAA-B4ED-0B05C92A51AE}" srcOrd="1" destOrd="0" presId="urn:microsoft.com/office/officeart/2005/8/layout/orgChart1"/>
    <dgm:cxn modelId="{E4004706-14C8-4F75-B939-136FE11021BE}" type="presParOf" srcId="{E30431A6-D6C2-4BC9-A348-D8D3C8F4508B}" destId="{983F9ED3-7A72-4240-B0B8-EA8ECFC87BC5}" srcOrd="1" destOrd="0" presId="urn:microsoft.com/office/officeart/2005/8/layout/orgChart1"/>
    <dgm:cxn modelId="{252ED83D-EBE9-4BC1-94A6-9DE0394F55B0}" type="presParOf" srcId="{E30431A6-D6C2-4BC9-A348-D8D3C8F4508B}" destId="{449AAA2F-9DF2-42B2-8E98-6BFC13416EDE}" srcOrd="2" destOrd="0" presId="urn:microsoft.com/office/officeart/2005/8/layout/orgChart1"/>
    <dgm:cxn modelId="{E3FAC1FE-C805-4DD2-B4B8-731F29EA373B}" type="presParOf" srcId="{51528F12-DF9A-4A98-A8FF-D6BED4883C10}" destId="{9228810A-A105-4C3B-9D75-E0201E6DD212}" srcOrd="4" destOrd="0" presId="urn:microsoft.com/office/officeart/2005/8/layout/orgChart1"/>
    <dgm:cxn modelId="{A32F912B-9A6A-4EA0-ACDF-CD628A4C08A2}" type="presParOf" srcId="{51528F12-DF9A-4A98-A8FF-D6BED4883C10}" destId="{2ED982E6-0802-41CC-AAEF-72D5424027A4}" srcOrd="5" destOrd="0" presId="urn:microsoft.com/office/officeart/2005/8/layout/orgChart1"/>
    <dgm:cxn modelId="{0E40293E-F260-4D2A-855F-7F1C4D7F99A2}" type="presParOf" srcId="{2ED982E6-0802-41CC-AAEF-72D5424027A4}" destId="{787082F7-C33E-421D-A64A-BC5E7DC0AEEF}" srcOrd="0" destOrd="0" presId="urn:microsoft.com/office/officeart/2005/8/layout/orgChart1"/>
    <dgm:cxn modelId="{7EC316C2-A9D0-494E-8604-44A3BB7F0C61}" type="presParOf" srcId="{787082F7-C33E-421D-A64A-BC5E7DC0AEEF}" destId="{DDFD4CFC-FCC1-4162-BD2C-AD0633FA8F6B}" srcOrd="0" destOrd="0" presId="urn:microsoft.com/office/officeart/2005/8/layout/orgChart1"/>
    <dgm:cxn modelId="{45E8FE08-F910-4F7E-A3D7-BD647288136A}" type="presParOf" srcId="{787082F7-C33E-421D-A64A-BC5E7DC0AEEF}" destId="{42B8A420-66C1-4C97-907C-50A3DE6ADD8E}" srcOrd="1" destOrd="0" presId="urn:microsoft.com/office/officeart/2005/8/layout/orgChart1"/>
    <dgm:cxn modelId="{733E0146-19F2-49F3-BE87-7D5EE0F52F7D}" type="presParOf" srcId="{2ED982E6-0802-41CC-AAEF-72D5424027A4}" destId="{F5D75A38-F9BA-4FE5-9C83-ABB29868853E}" srcOrd="1" destOrd="0" presId="urn:microsoft.com/office/officeart/2005/8/layout/orgChart1"/>
    <dgm:cxn modelId="{1E57A1E8-7E40-485F-A8F1-6D6ED4639E85}" type="presParOf" srcId="{2ED982E6-0802-41CC-AAEF-72D5424027A4}" destId="{AE7ADBFA-9D2E-4BA1-89BA-2173ED9D9E54}" srcOrd="2" destOrd="0" presId="urn:microsoft.com/office/officeart/2005/8/layout/orgChart1"/>
    <dgm:cxn modelId="{BB0DF4E0-8ECA-4AF9-AFB5-ECBEE7F7EF77}" type="presParOf" srcId="{BFC45A91-9D2F-43E3-8C1F-6E13C43E35D2}" destId="{BE6F02F8-02B4-459C-B558-9F909D4111EF}" srcOrd="2" destOrd="0" presId="urn:microsoft.com/office/officeart/2005/8/layout/orgChart1"/>
    <dgm:cxn modelId="{76E34CBE-23E2-4E99-9CE9-7A888B21849F}" type="presParOf" srcId="{0A484B24-5E9F-413A-AD0B-30FA88A0C8BA}" destId="{07C850D0-D63D-46BD-A7B7-56FD4094165F}" srcOrd="4" destOrd="0" presId="urn:microsoft.com/office/officeart/2005/8/layout/orgChart1"/>
    <dgm:cxn modelId="{52DEE3D6-1450-445E-A65B-BDFF9A274785}" type="presParOf" srcId="{0A484B24-5E9F-413A-AD0B-30FA88A0C8BA}" destId="{673F1D33-3DDC-49E2-A821-1BB78B1481B7}" srcOrd="5" destOrd="0" presId="urn:microsoft.com/office/officeart/2005/8/layout/orgChart1"/>
    <dgm:cxn modelId="{110F5371-4E25-419F-8DC6-1F341417DA1B}" type="presParOf" srcId="{673F1D33-3DDC-49E2-A821-1BB78B1481B7}" destId="{056B3A10-AF3D-470B-B7C0-06B6AAD31426}" srcOrd="0" destOrd="0" presId="urn:microsoft.com/office/officeart/2005/8/layout/orgChart1"/>
    <dgm:cxn modelId="{57A5AE65-F07A-4ED2-9D63-679953162D18}" type="presParOf" srcId="{056B3A10-AF3D-470B-B7C0-06B6AAD31426}" destId="{C22F9C6E-E1A9-489B-B38A-17BC074A71E5}" srcOrd="0" destOrd="0" presId="urn:microsoft.com/office/officeart/2005/8/layout/orgChart1"/>
    <dgm:cxn modelId="{51DC4CB9-3F2E-4ECF-B67D-448B1967DF37}" type="presParOf" srcId="{056B3A10-AF3D-470B-B7C0-06B6AAD31426}" destId="{EF83B6E8-C70D-41D1-9E80-5D7300E9CA3F}" srcOrd="1" destOrd="0" presId="urn:microsoft.com/office/officeart/2005/8/layout/orgChart1"/>
    <dgm:cxn modelId="{BEB279FB-1EE2-4E27-861B-05E88B8397B5}" type="presParOf" srcId="{673F1D33-3DDC-49E2-A821-1BB78B1481B7}" destId="{4B8CD826-A0F6-4B90-ABFB-B0BCDA4A22FD}" srcOrd="1" destOrd="0" presId="urn:microsoft.com/office/officeart/2005/8/layout/orgChart1"/>
    <dgm:cxn modelId="{006C6F40-0BB2-4135-B163-D8BD742CD9EF}" type="presParOf" srcId="{4B8CD826-A0F6-4B90-ABFB-B0BCDA4A22FD}" destId="{0FD4859E-B7FD-4526-9621-B143FE4B700B}" srcOrd="0" destOrd="0" presId="urn:microsoft.com/office/officeart/2005/8/layout/orgChart1"/>
    <dgm:cxn modelId="{031D1715-32BE-49BE-B28A-DAB66D58ED68}" type="presParOf" srcId="{4B8CD826-A0F6-4B90-ABFB-B0BCDA4A22FD}" destId="{A0EBBE08-DEC7-4083-9E36-E41F26D40EA0}" srcOrd="1" destOrd="0" presId="urn:microsoft.com/office/officeart/2005/8/layout/orgChart1"/>
    <dgm:cxn modelId="{F8F15197-5F3C-4426-A6CB-4884B4A2E2DE}" type="presParOf" srcId="{A0EBBE08-DEC7-4083-9E36-E41F26D40EA0}" destId="{3AED0655-DA03-4242-BBE2-96E317A49129}" srcOrd="0" destOrd="0" presId="urn:microsoft.com/office/officeart/2005/8/layout/orgChart1"/>
    <dgm:cxn modelId="{5E30B4AE-3939-45D8-AAD9-91CAB3D662B1}" type="presParOf" srcId="{3AED0655-DA03-4242-BBE2-96E317A49129}" destId="{2580E695-1069-4DB0-B584-906164E98B45}" srcOrd="0" destOrd="0" presId="urn:microsoft.com/office/officeart/2005/8/layout/orgChart1"/>
    <dgm:cxn modelId="{2FF99C78-4B80-43AC-9E0D-D8209CC4CEB7}" type="presParOf" srcId="{3AED0655-DA03-4242-BBE2-96E317A49129}" destId="{BF066A49-D506-4511-A12B-D2CBD3CB2029}" srcOrd="1" destOrd="0" presId="urn:microsoft.com/office/officeart/2005/8/layout/orgChart1"/>
    <dgm:cxn modelId="{858EA9E2-89D4-4D50-97CB-54CEF5BB7607}" type="presParOf" srcId="{A0EBBE08-DEC7-4083-9E36-E41F26D40EA0}" destId="{693401AC-AB00-4088-986E-12FDE146E009}" srcOrd="1" destOrd="0" presId="urn:microsoft.com/office/officeart/2005/8/layout/orgChart1"/>
    <dgm:cxn modelId="{893C596D-5237-4827-ABAF-EEA0138874C1}" type="presParOf" srcId="{A0EBBE08-DEC7-4083-9E36-E41F26D40EA0}" destId="{DCCDFB8D-39AD-4D6F-BFB4-8E49091D24EB}" srcOrd="2" destOrd="0" presId="urn:microsoft.com/office/officeart/2005/8/layout/orgChart1"/>
    <dgm:cxn modelId="{A82347EB-9EEF-4437-8689-CEAB8655C347}" type="presParOf" srcId="{4B8CD826-A0F6-4B90-ABFB-B0BCDA4A22FD}" destId="{73ECF7B7-F026-410D-83E2-009AA119A58E}" srcOrd="2" destOrd="0" presId="urn:microsoft.com/office/officeart/2005/8/layout/orgChart1"/>
    <dgm:cxn modelId="{9C3FAE51-F7D7-47A1-BB3E-5E0BBC3BAD6D}" type="presParOf" srcId="{4B8CD826-A0F6-4B90-ABFB-B0BCDA4A22FD}" destId="{DBD42C52-4CCE-47C4-A5B8-9FAE6B7B51B5}" srcOrd="3" destOrd="0" presId="urn:microsoft.com/office/officeart/2005/8/layout/orgChart1"/>
    <dgm:cxn modelId="{1AAFEC87-7450-4757-AB4B-76A6DA9B41F9}" type="presParOf" srcId="{DBD42C52-4CCE-47C4-A5B8-9FAE6B7B51B5}" destId="{6612BDB8-DCFC-451A-812E-BAF5CEB98D57}" srcOrd="0" destOrd="0" presId="urn:microsoft.com/office/officeart/2005/8/layout/orgChart1"/>
    <dgm:cxn modelId="{9D39BEFA-5C09-4745-A87D-C46EC9FBC5A4}" type="presParOf" srcId="{6612BDB8-DCFC-451A-812E-BAF5CEB98D57}" destId="{B6B85E33-7F19-45DB-9A32-B03709DC278E}" srcOrd="0" destOrd="0" presId="urn:microsoft.com/office/officeart/2005/8/layout/orgChart1"/>
    <dgm:cxn modelId="{D757DDAC-EF14-4EB3-AC4E-7F9AE458AD11}" type="presParOf" srcId="{6612BDB8-DCFC-451A-812E-BAF5CEB98D57}" destId="{D4DAD619-E2BF-450A-A0E0-71A52C82C0D6}" srcOrd="1" destOrd="0" presId="urn:microsoft.com/office/officeart/2005/8/layout/orgChart1"/>
    <dgm:cxn modelId="{284B80DA-6284-48F0-815F-2356F133151F}" type="presParOf" srcId="{DBD42C52-4CCE-47C4-A5B8-9FAE6B7B51B5}" destId="{881F91CA-FCE7-46F9-A722-BB0A8AB97895}" srcOrd="1" destOrd="0" presId="urn:microsoft.com/office/officeart/2005/8/layout/orgChart1"/>
    <dgm:cxn modelId="{D0F4EAF7-CE76-4240-A0B4-B1ADB3F04714}" type="presParOf" srcId="{DBD42C52-4CCE-47C4-A5B8-9FAE6B7B51B5}" destId="{4579B3B9-DF36-42FF-A96D-57B66E778BBA}" srcOrd="2" destOrd="0" presId="urn:microsoft.com/office/officeart/2005/8/layout/orgChart1"/>
    <dgm:cxn modelId="{8F79EC6B-616D-4AAF-B7F6-19FCCE8A9BC3}" type="presParOf" srcId="{4B8CD826-A0F6-4B90-ABFB-B0BCDA4A22FD}" destId="{FD790ADB-3940-41FB-858C-93B1416F6AEA}" srcOrd="4" destOrd="0" presId="urn:microsoft.com/office/officeart/2005/8/layout/orgChart1"/>
    <dgm:cxn modelId="{12ED7F29-482D-447C-BEA0-6860F16A003D}" type="presParOf" srcId="{4B8CD826-A0F6-4B90-ABFB-B0BCDA4A22FD}" destId="{36FDF2AE-F020-4B60-8137-49F0DCB24B4F}" srcOrd="5" destOrd="0" presId="urn:microsoft.com/office/officeart/2005/8/layout/orgChart1"/>
    <dgm:cxn modelId="{77776BDC-2F0A-4AE9-A240-0B1D5E224F75}" type="presParOf" srcId="{36FDF2AE-F020-4B60-8137-49F0DCB24B4F}" destId="{7847CF89-B893-469F-B69D-10AE7A10CE31}" srcOrd="0" destOrd="0" presId="urn:microsoft.com/office/officeart/2005/8/layout/orgChart1"/>
    <dgm:cxn modelId="{522D02AB-2D84-4DC0-AA5F-285D2F98B1A1}" type="presParOf" srcId="{7847CF89-B893-469F-B69D-10AE7A10CE31}" destId="{74A3DCF8-7840-410F-8EE3-071B594F205F}" srcOrd="0" destOrd="0" presId="urn:microsoft.com/office/officeart/2005/8/layout/orgChart1"/>
    <dgm:cxn modelId="{DB25FE61-3455-4AAC-BF5C-9038CD6A2128}" type="presParOf" srcId="{7847CF89-B893-469F-B69D-10AE7A10CE31}" destId="{C01B4EEA-E495-4ED2-8606-5BC91FDF6950}" srcOrd="1" destOrd="0" presId="urn:microsoft.com/office/officeart/2005/8/layout/orgChart1"/>
    <dgm:cxn modelId="{20AF11C3-81BE-4FFB-A632-2BED0C296933}" type="presParOf" srcId="{36FDF2AE-F020-4B60-8137-49F0DCB24B4F}" destId="{A4F18D6D-3C87-45F0-B761-1B548DF787ED}" srcOrd="1" destOrd="0" presId="urn:microsoft.com/office/officeart/2005/8/layout/orgChart1"/>
    <dgm:cxn modelId="{D0C12D06-785B-4BCB-86CB-CFAB7E5273CB}" type="presParOf" srcId="{36FDF2AE-F020-4B60-8137-49F0DCB24B4F}" destId="{990D535E-27B3-4162-BF2C-D0CA47DEBA49}" srcOrd="2" destOrd="0" presId="urn:microsoft.com/office/officeart/2005/8/layout/orgChart1"/>
    <dgm:cxn modelId="{C161F2B0-62D7-468D-8824-8C6C4D3EE7D2}" type="presParOf" srcId="{673F1D33-3DDC-49E2-A821-1BB78B1481B7}" destId="{29C5F8F0-8C14-4E12-B81F-CD31CC8DBB0C}" srcOrd="2" destOrd="0" presId="urn:microsoft.com/office/officeart/2005/8/layout/orgChart1"/>
    <dgm:cxn modelId="{07E78BC1-39B3-4C9A-9B35-59AEB2DD3363}" type="presParOf" srcId="{3CBBB6BB-DDD8-4852-BB38-D650B28D6FEE}" destId="{686BCD1F-CB69-4241-AABF-5EDEAEF17791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61304FA-123D-467B-8A7F-D1D9F853E670}" type="doc">
      <dgm:prSet loTypeId="urn:microsoft.com/office/officeart/2005/8/layout/orgChart1" loCatId="hierarchy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C48F8B0-52EF-4364-944F-CFE7F2622399}">
      <dgm:prSet phldrT="[Текст]" custT="1"/>
      <dgm:spPr>
        <a:solidFill>
          <a:srgbClr val="C00000"/>
        </a:solidFill>
      </dgm:spPr>
      <dgm:t>
        <a:bodyPr/>
        <a:lstStyle/>
        <a:p>
          <a:r>
            <a:rPr lang="ru-RU" sz="2400" dirty="0"/>
            <a:t>Обращение</a:t>
          </a:r>
          <a:r>
            <a:rPr lang="ru-RU" sz="2900" dirty="0"/>
            <a:t>  </a:t>
          </a:r>
        </a:p>
      </dgm:t>
    </dgm:pt>
    <dgm:pt modelId="{25A8CA7D-FFCC-4E91-BB6E-2DFD0395D795}" type="parTrans" cxnId="{8CBBED40-7C6F-4E2A-901C-BA8AC1C0D054}">
      <dgm:prSet/>
      <dgm:spPr/>
      <dgm:t>
        <a:bodyPr/>
        <a:lstStyle/>
        <a:p>
          <a:endParaRPr lang="ru-RU"/>
        </a:p>
      </dgm:t>
    </dgm:pt>
    <dgm:pt modelId="{13CCB663-7F8E-4EF0-B348-C3112ACD63CE}" type="sibTrans" cxnId="{8CBBED40-7C6F-4E2A-901C-BA8AC1C0D054}">
      <dgm:prSet/>
      <dgm:spPr/>
      <dgm:t>
        <a:bodyPr/>
        <a:lstStyle/>
        <a:p>
          <a:endParaRPr lang="ru-RU"/>
        </a:p>
      </dgm:t>
    </dgm:pt>
    <dgm:pt modelId="{DBCC19AE-9578-4314-BE29-F3B0D030D416}" type="asst">
      <dgm:prSet phldrT="[Текст]" custT="1"/>
      <dgm:spPr>
        <a:solidFill>
          <a:srgbClr val="423D67"/>
        </a:solidFill>
      </dgm:spPr>
      <dgm:t>
        <a:bodyPr/>
        <a:lstStyle/>
        <a:p>
          <a:r>
            <a:rPr lang="ru-RU" sz="2400" dirty="0"/>
            <a:t>Банк Рособрнадзора  </a:t>
          </a:r>
        </a:p>
      </dgm:t>
    </dgm:pt>
    <dgm:pt modelId="{D05F1692-8A50-4DB8-815E-51BAFBF0D96C}" type="parTrans" cxnId="{7F935546-D729-41A7-9534-39794537493A}">
      <dgm:prSet/>
      <dgm:spPr/>
      <dgm:t>
        <a:bodyPr/>
        <a:lstStyle/>
        <a:p>
          <a:endParaRPr lang="ru-RU"/>
        </a:p>
      </dgm:t>
    </dgm:pt>
    <dgm:pt modelId="{4D718E4F-7D76-4F0F-B75C-730A79F7B9B1}" type="sibTrans" cxnId="{7F935546-D729-41A7-9534-39794537493A}">
      <dgm:prSet/>
      <dgm:spPr/>
      <dgm:t>
        <a:bodyPr/>
        <a:lstStyle/>
        <a:p>
          <a:endParaRPr lang="ru-RU"/>
        </a:p>
      </dgm:t>
    </dgm:pt>
    <dgm:pt modelId="{6CAD160B-12D0-44CE-817D-17D09FE9E5FE}">
      <dgm:prSet phldrT="[Текст]" custT="1"/>
      <dgm:spPr>
        <a:solidFill>
          <a:schemeClr val="accent6">
            <a:lumMod val="50000"/>
          </a:schemeClr>
        </a:solidFill>
      </dgm:spPr>
      <dgm:t>
        <a:bodyPr/>
        <a:lstStyle/>
        <a:p>
          <a:r>
            <a:rPr lang="ru-RU" sz="2400" dirty="0"/>
            <a:t>Сортировка по темам </a:t>
          </a:r>
        </a:p>
      </dgm:t>
    </dgm:pt>
    <dgm:pt modelId="{FA772B73-5668-45F7-878B-ED470B43D261}" type="parTrans" cxnId="{D04E0EA5-D193-4889-9315-B45B4A444738}">
      <dgm:prSet/>
      <dgm:spPr/>
      <dgm:t>
        <a:bodyPr/>
        <a:lstStyle/>
        <a:p>
          <a:endParaRPr lang="ru-RU"/>
        </a:p>
      </dgm:t>
    </dgm:pt>
    <dgm:pt modelId="{098F0283-5D05-49BC-8ADD-CFF0A1DD3BC7}" type="sibTrans" cxnId="{D04E0EA5-D193-4889-9315-B45B4A444738}">
      <dgm:prSet/>
      <dgm:spPr/>
      <dgm:t>
        <a:bodyPr/>
        <a:lstStyle/>
        <a:p>
          <a:endParaRPr lang="ru-RU"/>
        </a:p>
      </dgm:t>
    </dgm:pt>
    <dgm:pt modelId="{CFBB3AB1-09D8-4075-877E-731A8AC58446}">
      <dgm:prSet phldrT="[Текст]" custT="1"/>
      <dgm:spPr>
        <a:solidFill>
          <a:schemeClr val="accent6">
            <a:lumMod val="50000"/>
          </a:schemeClr>
        </a:solidFill>
      </dgm:spPr>
      <dgm:t>
        <a:bodyPr/>
        <a:lstStyle/>
        <a:p>
          <a:r>
            <a:rPr lang="ru-RU" sz="2400" dirty="0"/>
            <a:t>Сортировка по регионам </a:t>
          </a:r>
        </a:p>
      </dgm:t>
    </dgm:pt>
    <dgm:pt modelId="{A723FD2B-5216-4461-B471-80BEEB63C6D2}" type="parTrans" cxnId="{600F78F6-6B6E-430A-878B-EED5B364ABB6}">
      <dgm:prSet/>
      <dgm:spPr/>
      <dgm:t>
        <a:bodyPr/>
        <a:lstStyle/>
        <a:p>
          <a:endParaRPr lang="ru-RU"/>
        </a:p>
      </dgm:t>
    </dgm:pt>
    <dgm:pt modelId="{60DB055F-838A-42B5-802D-F8749B236C6B}" type="sibTrans" cxnId="{600F78F6-6B6E-430A-878B-EED5B364ABB6}">
      <dgm:prSet/>
      <dgm:spPr/>
      <dgm:t>
        <a:bodyPr/>
        <a:lstStyle/>
        <a:p>
          <a:endParaRPr lang="ru-RU"/>
        </a:p>
      </dgm:t>
    </dgm:pt>
    <dgm:pt modelId="{EE989A2F-18BA-4CE2-A2B8-2AE36B5A9609}">
      <dgm:prSet custT="1"/>
      <dgm:spPr>
        <a:solidFill>
          <a:schemeClr val="accent6">
            <a:lumMod val="50000"/>
          </a:schemeClr>
        </a:solidFill>
      </dgm:spPr>
      <dgm:t>
        <a:bodyPr/>
        <a:lstStyle/>
        <a:p>
          <a:r>
            <a:rPr lang="ru-RU" sz="2400" dirty="0"/>
            <a:t>Отправка в РОИВ</a:t>
          </a:r>
        </a:p>
      </dgm:t>
    </dgm:pt>
    <dgm:pt modelId="{5FFE8B39-3A68-488A-A82C-DF857E03445D}" type="parTrans" cxnId="{B364636A-E4C6-4A78-A4FB-53FC0E2CA34F}">
      <dgm:prSet/>
      <dgm:spPr/>
      <dgm:t>
        <a:bodyPr/>
        <a:lstStyle/>
        <a:p>
          <a:endParaRPr lang="ru-RU"/>
        </a:p>
      </dgm:t>
    </dgm:pt>
    <dgm:pt modelId="{5F2E253E-FF20-4D23-A3F5-BE2118B76855}" type="sibTrans" cxnId="{B364636A-E4C6-4A78-A4FB-53FC0E2CA34F}">
      <dgm:prSet/>
      <dgm:spPr/>
      <dgm:t>
        <a:bodyPr/>
        <a:lstStyle/>
        <a:p>
          <a:endParaRPr lang="ru-RU"/>
        </a:p>
      </dgm:t>
    </dgm:pt>
    <dgm:pt modelId="{36C4071E-8F64-460A-A0C8-F111C34DC63F}">
      <dgm:prSet custT="1"/>
      <dgm:spPr>
        <a:solidFill>
          <a:schemeClr val="accent6">
            <a:lumMod val="50000"/>
          </a:schemeClr>
        </a:solidFill>
      </dgm:spPr>
      <dgm:t>
        <a:bodyPr/>
        <a:lstStyle/>
        <a:p>
          <a:r>
            <a:rPr lang="ru-RU" sz="2400" dirty="0"/>
            <a:t>Контроль результата </a:t>
          </a:r>
        </a:p>
      </dgm:t>
    </dgm:pt>
    <dgm:pt modelId="{385E05AC-E181-409B-BF31-E46F44AB9764}" type="parTrans" cxnId="{5AFAACB3-3385-4282-8D86-8603BE76912A}">
      <dgm:prSet/>
      <dgm:spPr/>
      <dgm:t>
        <a:bodyPr/>
        <a:lstStyle/>
        <a:p>
          <a:endParaRPr lang="ru-RU"/>
        </a:p>
      </dgm:t>
    </dgm:pt>
    <dgm:pt modelId="{982DE54B-4512-4D7E-B909-8024789E19AE}" type="sibTrans" cxnId="{5AFAACB3-3385-4282-8D86-8603BE76912A}">
      <dgm:prSet/>
      <dgm:spPr/>
      <dgm:t>
        <a:bodyPr/>
        <a:lstStyle/>
        <a:p>
          <a:endParaRPr lang="ru-RU"/>
        </a:p>
      </dgm:t>
    </dgm:pt>
    <dgm:pt modelId="{0252DAB3-430C-4F48-BF02-A5B04EE9EC23}">
      <dgm:prSet custT="1"/>
      <dgm:spPr>
        <a:solidFill>
          <a:srgbClr val="C00000"/>
        </a:solidFill>
      </dgm:spPr>
      <dgm:t>
        <a:bodyPr/>
        <a:lstStyle/>
        <a:p>
          <a:r>
            <a:rPr lang="ru-RU" sz="2400" dirty="0"/>
            <a:t>Проблема не решена </a:t>
          </a:r>
        </a:p>
      </dgm:t>
    </dgm:pt>
    <dgm:pt modelId="{E5BE86AE-8108-4A9E-A4F6-E5DDF7E5BC65}" type="parTrans" cxnId="{EF718004-78EE-4080-941C-50553FBC564D}">
      <dgm:prSet/>
      <dgm:spPr/>
      <dgm:t>
        <a:bodyPr/>
        <a:lstStyle/>
        <a:p>
          <a:endParaRPr lang="ru-RU"/>
        </a:p>
      </dgm:t>
    </dgm:pt>
    <dgm:pt modelId="{AE0B541B-2619-46FC-967D-4B65C03B07D1}" type="sibTrans" cxnId="{EF718004-78EE-4080-941C-50553FBC564D}">
      <dgm:prSet/>
      <dgm:spPr/>
      <dgm:t>
        <a:bodyPr/>
        <a:lstStyle/>
        <a:p>
          <a:endParaRPr lang="ru-RU"/>
        </a:p>
      </dgm:t>
    </dgm:pt>
    <dgm:pt modelId="{0DD4178D-18E7-432F-B913-CC5E8674AD85}">
      <dgm:prSet custT="1"/>
      <dgm:spPr>
        <a:solidFill>
          <a:srgbClr val="423D67"/>
        </a:solidFill>
      </dgm:spPr>
      <dgm:t>
        <a:bodyPr/>
        <a:lstStyle/>
        <a:p>
          <a:r>
            <a:rPr lang="ru-RU" sz="2400" dirty="0"/>
            <a:t>Рособрнадзор </a:t>
          </a:r>
        </a:p>
      </dgm:t>
    </dgm:pt>
    <dgm:pt modelId="{AACBB2E2-4B84-480F-A1D0-D0F5E9E0867B}" type="parTrans" cxnId="{C857907C-B102-498D-BAAC-B61BE345E243}">
      <dgm:prSet/>
      <dgm:spPr/>
      <dgm:t>
        <a:bodyPr/>
        <a:lstStyle/>
        <a:p>
          <a:endParaRPr lang="ru-RU"/>
        </a:p>
      </dgm:t>
    </dgm:pt>
    <dgm:pt modelId="{3AD723F3-7002-4214-B642-A754D999B3BA}" type="sibTrans" cxnId="{C857907C-B102-498D-BAAC-B61BE345E243}">
      <dgm:prSet/>
      <dgm:spPr/>
      <dgm:t>
        <a:bodyPr/>
        <a:lstStyle/>
        <a:p>
          <a:endParaRPr lang="ru-RU"/>
        </a:p>
      </dgm:t>
    </dgm:pt>
    <dgm:pt modelId="{FAEDAEE8-2FB0-4C9E-B12D-39FD2EEA09AB}" type="pres">
      <dgm:prSet presAssocID="{961304FA-123D-467B-8A7F-D1D9F853E670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227E2903-0E8F-44B6-B45E-C7A92EDE3795}" type="pres">
      <dgm:prSet presAssocID="{3C48F8B0-52EF-4364-944F-CFE7F2622399}" presName="hierRoot1" presStyleCnt="0">
        <dgm:presLayoutVars>
          <dgm:hierBranch val="init"/>
        </dgm:presLayoutVars>
      </dgm:prSet>
      <dgm:spPr/>
    </dgm:pt>
    <dgm:pt modelId="{E736A252-BDCC-4156-833E-1ADCC0B0E53A}" type="pres">
      <dgm:prSet presAssocID="{3C48F8B0-52EF-4364-944F-CFE7F2622399}" presName="rootComposite1" presStyleCnt="0"/>
      <dgm:spPr/>
    </dgm:pt>
    <dgm:pt modelId="{94B9A4D9-1915-4C2A-B50E-452B88CD8BAD}" type="pres">
      <dgm:prSet presAssocID="{3C48F8B0-52EF-4364-944F-CFE7F2622399}" presName="rootText1" presStyleLbl="node0" presStyleIdx="0" presStyleCnt="1" custScaleX="171750">
        <dgm:presLayoutVars>
          <dgm:chPref val="3"/>
        </dgm:presLayoutVars>
      </dgm:prSet>
      <dgm:spPr/>
    </dgm:pt>
    <dgm:pt modelId="{4104D8D5-DC8B-4360-AD23-E1678AA7A6EA}" type="pres">
      <dgm:prSet presAssocID="{3C48F8B0-52EF-4364-944F-CFE7F2622399}" presName="rootConnector1" presStyleLbl="node1" presStyleIdx="0" presStyleCnt="0"/>
      <dgm:spPr/>
    </dgm:pt>
    <dgm:pt modelId="{DE4FFE11-C073-4327-996D-7BFB464C45A4}" type="pres">
      <dgm:prSet presAssocID="{3C48F8B0-52EF-4364-944F-CFE7F2622399}" presName="hierChild2" presStyleCnt="0"/>
      <dgm:spPr/>
    </dgm:pt>
    <dgm:pt modelId="{21C9AE70-6F56-4D63-AD53-852F83FAA370}" type="pres">
      <dgm:prSet presAssocID="{FA772B73-5668-45F7-878B-ED470B43D261}" presName="Name37" presStyleLbl="parChTrans1D2" presStyleIdx="0" presStyleCnt="3"/>
      <dgm:spPr/>
    </dgm:pt>
    <dgm:pt modelId="{67E46A76-1A2A-4CB6-B2BB-CBE9ECD34587}" type="pres">
      <dgm:prSet presAssocID="{6CAD160B-12D0-44CE-817D-17D09FE9E5FE}" presName="hierRoot2" presStyleCnt="0">
        <dgm:presLayoutVars>
          <dgm:hierBranch val="init"/>
        </dgm:presLayoutVars>
      </dgm:prSet>
      <dgm:spPr/>
    </dgm:pt>
    <dgm:pt modelId="{4D93DCD1-B708-41D6-89A8-DE93B407755D}" type="pres">
      <dgm:prSet presAssocID="{6CAD160B-12D0-44CE-817D-17D09FE9E5FE}" presName="rootComposite" presStyleCnt="0"/>
      <dgm:spPr/>
    </dgm:pt>
    <dgm:pt modelId="{E7A71232-DD6C-4471-B3C7-8D8DFC7D5D20}" type="pres">
      <dgm:prSet presAssocID="{6CAD160B-12D0-44CE-817D-17D09FE9E5FE}" presName="rootText" presStyleLbl="node2" presStyleIdx="0" presStyleCnt="2" custScaleX="156986">
        <dgm:presLayoutVars>
          <dgm:chPref val="3"/>
        </dgm:presLayoutVars>
      </dgm:prSet>
      <dgm:spPr/>
    </dgm:pt>
    <dgm:pt modelId="{9AD62792-9753-49EC-B2EE-C0F764575949}" type="pres">
      <dgm:prSet presAssocID="{6CAD160B-12D0-44CE-817D-17D09FE9E5FE}" presName="rootConnector" presStyleLbl="node2" presStyleIdx="0" presStyleCnt="2"/>
      <dgm:spPr/>
    </dgm:pt>
    <dgm:pt modelId="{524184FC-9F10-4331-BB96-40FE47308F21}" type="pres">
      <dgm:prSet presAssocID="{6CAD160B-12D0-44CE-817D-17D09FE9E5FE}" presName="hierChild4" presStyleCnt="0"/>
      <dgm:spPr/>
    </dgm:pt>
    <dgm:pt modelId="{92542CF4-1C13-46E5-96BF-1B4D2BAF8379}" type="pres">
      <dgm:prSet presAssocID="{6CAD160B-12D0-44CE-817D-17D09FE9E5FE}" presName="hierChild5" presStyleCnt="0"/>
      <dgm:spPr/>
    </dgm:pt>
    <dgm:pt modelId="{31D95A8F-A472-4EC6-B94B-D9918AA44C20}" type="pres">
      <dgm:prSet presAssocID="{A723FD2B-5216-4461-B471-80BEEB63C6D2}" presName="Name37" presStyleLbl="parChTrans1D2" presStyleIdx="1" presStyleCnt="3"/>
      <dgm:spPr/>
    </dgm:pt>
    <dgm:pt modelId="{EF658EDF-970F-44AF-A65D-9D6ED29FA349}" type="pres">
      <dgm:prSet presAssocID="{CFBB3AB1-09D8-4075-877E-731A8AC58446}" presName="hierRoot2" presStyleCnt="0">
        <dgm:presLayoutVars>
          <dgm:hierBranch val="init"/>
        </dgm:presLayoutVars>
      </dgm:prSet>
      <dgm:spPr/>
    </dgm:pt>
    <dgm:pt modelId="{C1FBE83C-FCD9-4957-A9C7-79E5D961AB48}" type="pres">
      <dgm:prSet presAssocID="{CFBB3AB1-09D8-4075-877E-731A8AC58446}" presName="rootComposite" presStyleCnt="0"/>
      <dgm:spPr/>
    </dgm:pt>
    <dgm:pt modelId="{5DC74452-57DD-4D4C-A33A-7915B1B5A127}" type="pres">
      <dgm:prSet presAssocID="{CFBB3AB1-09D8-4075-877E-731A8AC58446}" presName="rootText" presStyleLbl="node2" presStyleIdx="1" presStyleCnt="2" custScaleX="153639">
        <dgm:presLayoutVars>
          <dgm:chPref val="3"/>
        </dgm:presLayoutVars>
      </dgm:prSet>
      <dgm:spPr/>
    </dgm:pt>
    <dgm:pt modelId="{38F0DDE9-6595-42FA-9C4C-A6D181708CC8}" type="pres">
      <dgm:prSet presAssocID="{CFBB3AB1-09D8-4075-877E-731A8AC58446}" presName="rootConnector" presStyleLbl="node2" presStyleIdx="1" presStyleCnt="2"/>
      <dgm:spPr/>
    </dgm:pt>
    <dgm:pt modelId="{6B875C3B-0C14-4EF4-9031-40ECBFE907AE}" type="pres">
      <dgm:prSet presAssocID="{CFBB3AB1-09D8-4075-877E-731A8AC58446}" presName="hierChild4" presStyleCnt="0"/>
      <dgm:spPr/>
    </dgm:pt>
    <dgm:pt modelId="{2A2A3F54-2B77-4E2B-B001-2D8C0E2304DE}" type="pres">
      <dgm:prSet presAssocID="{5FFE8B39-3A68-488A-A82C-DF857E03445D}" presName="Name37" presStyleLbl="parChTrans1D3" presStyleIdx="0" presStyleCnt="1"/>
      <dgm:spPr/>
    </dgm:pt>
    <dgm:pt modelId="{63EDB987-C4F9-47F7-8EBF-8C6B69E05CCA}" type="pres">
      <dgm:prSet presAssocID="{EE989A2F-18BA-4CE2-A2B8-2AE36B5A9609}" presName="hierRoot2" presStyleCnt="0">
        <dgm:presLayoutVars>
          <dgm:hierBranch val="init"/>
        </dgm:presLayoutVars>
      </dgm:prSet>
      <dgm:spPr/>
    </dgm:pt>
    <dgm:pt modelId="{9C8C1180-A738-4089-B1B3-7BDD0EA63212}" type="pres">
      <dgm:prSet presAssocID="{EE989A2F-18BA-4CE2-A2B8-2AE36B5A9609}" presName="rootComposite" presStyleCnt="0"/>
      <dgm:spPr/>
    </dgm:pt>
    <dgm:pt modelId="{08F8D1A6-84B4-4446-A759-18A42B149263}" type="pres">
      <dgm:prSet presAssocID="{EE989A2F-18BA-4CE2-A2B8-2AE36B5A9609}" presName="rootText" presStyleLbl="node3" presStyleIdx="0" presStyleCnt="1" custScaleX="153639">
        <dgm:presLayoutVars>
          <dgm:chPref val="3"/>
        </dgm:presLayoutVars>
      </dgm:prSet>
      <dgm:spPr/>
    </dgm:pt>
    <dgm:pt modelId="{2C7466C9-4999-4ABA-B8DC-278D7DE988E1}" type="pres">
      <dgm:prSet presAssocID="{EE989A2F-18BA-4CE2-A2B8-2AE36B5A9609}" presName="rootConnector" presStyleLbl="node3" presStyleIdx="0" presStyleCnt="1"/>
      <dgm:spPr/>
    </dgm:pt>
    <dgm:pt modelId="{119E49DE-2E2D-469A-B16A-986D3F1D6A74}" type="pres">
      <dgm:prSet presAssocID="{EE989A2F-18BA-4CE2-A2B8-2AE36B5A9609}" presName="hierChild4" presStyleCnt="0"/>
      <dgm:spPr/>
    </dgm:pt>
    <dgm:pt modelId="{79CF3D7B-C06D-44AC-AF63-AD87675593F6}" type="pres">
      <dgm:prSet presAssocID="{385E05AC-E181-409B-BF31-E46F44AB9764}" presName="Name37" presStyleLbl="parChTrans1D4" presStyleIdx="0" presStyleCnt="3"/>
      <dgm:spPr/>
    </dgm:pt>
    <dgm:pt modelId="{4030F730-F1C6-4D9D-86A8-72F9427B250F}" type="pres">
      <dgm:prSet presAssocID="{36C4071E-8F64-460A-A0C8-F111C34DC63F}" presName="hierRoot2" presStyleCnt="0">
        <dgm:presLayoutVars>
          <dgm:hierBranch val="init"/>
        </dgm:presLayoutVars>
      </dgm:prSet>
      <dgm:spPr/>
    </dgm:pt>
    <dgm:pt modelId="{CF0DDB7B-0E6A-4689-B191-D1D7BD186402}" type="pres">
      <dgm:prSet presAssocID="{36C4071E-8F64-460A-A0C8-F111C34DC63F}" presName="rootComposite" presStyleCnt="0"/>
      <dgm:spPr/>
    </dgm:pt>
    <dgm:pt modelId="{555970C1-F91D-4BEA-B57E-55A366F41967}" type="pres">
      <dgm:prSet presAssocID="{36C4071E-8F64-460A-A0C8-F111C34DC63F}" presName="rootText" presStyleLbl="node4" presStyleIdx="0" presStyleCnt="3" custScaleX="153639">
        <dgm:presLayoutVars>
          <dgm:chPref val="3"/>
        </dgm:presLayoutVars>
      </dgm:prSet>
      <dgm:spPr/>
    </dgm:pt>
    <dgm:pt modelId="{07703635-4DF5-41DF-A785-F73CB6E4D226}" type="pres">
      <dgm:prSet presAssocID="{36C4071E-8F64-460A-A0C8-F111C34DC63F}" presName="rootConnector" presStyleLbl="node4" presStyleIdx="0" presStyleCnt="3"/>
      <dgm:spPr/>
    </dgm:pt>
    <dgm:pt modelId="{1D07D33D-2234-4180-90B6-F4B6278341BD}" type="pres">
      <dgm:prSet presAssocID="{36C4071E-8F64-460A-A0C8-F111C34DC63F}" presName="hierChild4" presStyleCnt="0"/>
      <dgm:spPr/>
    </dgm:pt>
    <dgm:pt modelId="{33227BA0-D4A8-4B16-B356-887C116FEC3A}" type="pres">
      <dgm:prSet presAssocID="{E5BE86AE-8108-4A9E-A4F6-E5DDF7E5BC65}" presName="Name37" presStyleLbl="parChTrans1D4" presStyleIdx="1" presStyleCnt="3"/>
      <dgm:spPr/>
    </dgm:pt>
    <dgm:pt modelId="{4E7CE246-A7D0-48BE-8AF5-0620C3A311EA}" type="pres">
      <dgm:prSet presAssocID="{0252DAB3-430C-4F48-BF02-A5B04EE9EC23}" presName="hierRoot2" presStyleCnt="0">
        <dgm:presLayoutVars>
          <dgm:hierBranch val="init"/>
        </dgm:presLayoutVars>
      </dgm:prSet>
      <dgm:spPr/>
    </dgm:pt>
    <dgm:pt modelId="{954D01BD-D384-4A80-B2B2-D53C9C6A5258}" type="pres">
      <dgm:prSet presAssocID="{0252DAB3-430C-4F48-BF02-A5B04EE9EC23}" presName="rootComposite" presStyleCnt="0"/>
      <dgm:spPr/>
    </dgm:pt>
    <dgm:pt modelId="{3FF1D505-F108-44CF-B2D4-9F98D796A4D0}" type="pres">
      <dgm:prSet presAssocID="{0252DAB3-430C-4F48-BF02-A5B04EE9EC23}" presName="rootText" presStyleLbl="node4" presStyleIdx="1" presStyleCnt="3" custScaleX="153639">
        <dgm:presLayoutVars>
          <dgm:chPref val="3"/>
        </dgm:presLayoutVars>
      </dgm:prSet>
      <dgm:spPr/>
    </dgm:pt>
    <dgm:pt modelId="{5A1BAC47-8D16-4FD5-8D0A-BF9C1FDC22C9}" type="pres">
      <dgm:prSet presAssocID="{0252DAB3-430C-4F48-BF02-A5B04EE9EC23}" presName="rootConnector" presStyleLbl="node4" presStyleIdx="1" presStyleCnt="3"/>
      <dgm:spPr/>
    </dgm:pt>
    <dgm:pt modelId="{E3454E01-0C05-4308-A0AF-AA68E8086BAF}" type="pres">
      <dgm:prSet presAssocID="{0252DAB3-430C-4F48-BF02-A5B04EE9EC23}" presName="hierChild4" presStyleCnt="0"/>
      <dgm:spPr/>
    </dgm:pt>
    <dgm:pt modelId="{A407D757-7DAA-49BC-A28A-32088A4E6740}" type="pres">
      <dgm:prSet presAssocID="{AACBB2E2-4B84-480F-A1D0-D0F5E9E0867B}" presName="Name37" presStyleLbl="parChTrans1D4" presStyleIdx="2" presStyleCnt="3"/>
      <dgm:spPr/>
    </dgm:pt>
    <dgm:pt modelId="{CE22FF57-264B-4A9D-9C62-913969710ACF}" type="pres">
      <dgm:prSet presAssocID="{0DD4178D-18E7-432F-B913-CC5E8674AD85}" presName="hierRoot2" presStyleCnt="0">
        <dgm:presLayoutVars>
          <dgm:hierBranch val="init"/>
        </dgm:presLayoutVars>
      </dgm:prSet>
      <dgm:spPr/>
    </dgm:pt>
    <dgm:pt modelId="{855AD13B-34DC-48C2-8B0B-E726A4F63701}" type="pres">
      <dgm:prSet presAssocID="{0DD4178D-18E7-432F-B913-CC5E8674AD85}" presName="rootComposite" presStyleCnt="0"/>
      <dgm:spPr/>
    </dgm:pt>
    <dgm:pt modelId="{4B641B23-6DF0-4FB2-852F-8EEC5B82E9FD}" type="pres">
      <dgm:prSet presAssocID="{0DD4178D-18E7-432F-B913-CC5E8674AD85}" presName="rootText" presStyleLbl="node4" presStyleIdx="2" presStyleCnt="3" custScaleX="157069">
        <dgm:presLayoutVars>
          <dgm:chPref val="3"/>
        </dgm:presLayoutVars>
      </dgm:prSet>
      <dgm:spPr/>
    </dgm:pt>
    <dgm:pt modelId="{A33AC2EF-B5E5-4517-88A0-A3F5C28E9098}" type="pres">
      <dgm:prSet presAssocID="{0DD4178D-18E7-432F-B913-CC5E8674AD85}" presName="rootConnector" presStyleLbl="node4" presStyleIdx="2" presStyleCnt="3"/>
      <dgm:spPr/>
    </dgm:pt>
    <dgm:pt modelId="{AAF4BCF7-EEC7-4EF6-ABC1-64D407DC5335}" type="pres">
      <dgm:prSet presAssocID="{0DD4178D-18E7-432F-B913-CC5E8674AD85}" presName="hierChild4" presStyleCnt="0"/>
      <dgm:spPr/>
    </dgm:pt>
    <dgm:pt modelId="{1E864168-098E-4C9E-A8EC-282760C2DBFD}" type="pres">
      <dgm:prSet presAssocID="{0DD4178D-18E7-432F-B913-CC5E8674AD85}" presName="hierChild5" presStyleCnt="0"/>
      <dgm:spPr/>
    </dgm:pt>
    <dgm:pt modelId="{F644338E-CF12-45F7-820F-0EDF6254DF84}" type="pres">
      <dgm:prSet presAssocID="{0252DAB3-430C-4F48-BF02-A5B04EE9EC23}" presName="hierChild5" presStyleCnt="0"/>
      <dgm:spPr/>
    </dgm:pt>
    <dgm:pt modelId="{4F7E3EED-CBCF-441B-8DF6-B9632A5510BA}" type="pres">
      <dgm:prSet presAssocID="{36C4071E-8F64-460A-A0C8-F111C34DC63F}" presName="hierChild5" presStyleCnt="0"/>
      <dgm:spPr/>
    </dgm:pt>
    <dgm:pt modelId="{F0D85855-93FA-4E4D-859A-96CC76640165}" type="pres">
      <dgm:prSet presAssocID="{EE989A2F-18BA-4CE2-A2B8-2AE36B5A9609}" presName="hierChild5" presStyleCnt="0"/>
      <dgm:spPr/>
    </dgm:pt>
    <dgm:pt modelId="{B70E435C-1938-4693-9A64-79AC0CCA1F7B}" type="pres">
      <dgm:prSet presAssocID="{CFBB3AB1-09D8-4075-877E-731A8AC58446}" presName="hierChild5" presStyleCnt="0"/>
      <dgm:spPr/>
    </dgm:pt>
    <dgm:pt modelId="{0DAE499C-450D-4C68-9D23-2D9CB0B06C81}" type="pres">
      <dgm:prSet presAssocID="{3C48F8B0-52EF-4364-944F-CFE7F2622399}" presName="hierChild3" presStyleCnt="0"/>
      <dgm:spPr/>
    </dgm:pt>
    <dgm:pt modelId="{1C449442-8C33-4B57-BEA7-B9654F014B07}" type="pres">
      <dgm:prSet presAssocID="{D05F1692-8A50-4DB8-815E-51BAFBF0D96C}" presName="Name111" presStyleLbl="parChTrans1D2" presStyleIdx="2" presStyleCnt="3"/>
      <dgm:spPr/>
    </dgm:pt>
    <dgm:pt modelId="{E493EAC6-A3D1-4593-9861-330DB1699FF4}" type="pres">
      <dgm:prSet presAssocID="{DBCC19AE-9578-4314-BE29-F3B0D030D416}" presName="hierRoot3" presStyleCnt="0">
        <dgm:presLayoutVars>
          <dgm:hierBranch val="init"/>
        </dgm:presLayoutVars>
      </dgm:prSet>
      <dgm:spPr/>
    </dgm:pt>
    <dgm:pt modelId="{FB62521E-C4D6-43D7-BCE1-B5CDA8760C6B}" type="pres">
      <dgm:prSet presAssocID="{DBCC19AE-9578-4314-BE29-F3B0D030D416}" presName="rootComposite3" presStyleCnt="0"/>
      <dgm:spPr/>
    </dgm:pt>
    <dgm:pt modelId="{E0B8EAC7-F880-4316-8AD8-B2B956CD5CA7}" type="pres">
      <dgm:prSet presAssocID="{DBCC19AE-9578-4314-BE29-F3B0D030D416}" presName="rootText3" presStyleLbl="asst1" presStyleIdx="0" presStyleCnt="1" custScaleX="171091">
        <dgm:presLayoutVars>
          <dgm:chPref val="3"/>
        </dgm:presLayoutVars>
      </dgm:prSet>
      <dgm:spPr/>
    </dgm:pt>
    <dgm:pt modelId="{D113A79F-4148-45EA-B0CC-FC76480F9FD7}" type="pres">
      <dgm:prSet presAssocID="{DBCC19AE-9578-4314-BE29-F3B0D030D416}" presName="rootConnector3" presStyleLbl="asst1" presStyleIdx="0" presStyleCnt="1"/>
      <dgm:spPr/>
    </dgm:pt>
    <dgm:pt modelId="{C8A10507-3192-4C7F-9AC8-4404142E6DA9}" type="pres">
      <dgm:prSet presAssocID="{DBCC19AE-9578-4314-BE29-F3B0D030D416}" presName="hierChild6" presStyleCnt="0"/>
      <dgm:spPr/>
    </dgm:pt>
    <dgm:pt modelId="{EE50D89A-B4AD-4C3E-93AF-2F77724FC06B}" type="pres">
      <dgm:prSet presAssocID="{DBCC19AE-9578-4314-BE29-F3B0D030D416}" presName="hierChild7" presStyleCnt="0"/>
      <dgm:spPr/>
    </dgm:pt>
  </dgm:ptLst>
  <dgm:cxnLst>
    <dgm:cxn modelId="{EF718004-78EE-4080-941C-50553FBC564D}" srcId="{36C4071E-8F64-460A-A0C8-F111C34DC63F}" destId="{0252DAB3-430C-4F48-BF02-A5B04EE9EC23}" srcOrd="0" destOrd="0" parTransId="{E5BE86AE-8108-4A9E-A4F6-E5DDF7E5BC65}" sibTransId="{AE0B541B-2619-46FC-967D-4B65C03B07D1}"/>
    <dgm:cxn modelId="{EC099806-C10C-4D9E-9495-92AA1349F061}" type="presOf" srcId="{FA772B73-5668-45F7-878B-ED470B43D261}" destId="{21C9AE70-6F56-4D63-AD53-852F83FAA370}" srcOrd="0" destOrd="0" presId="urn:microsoft.com/office/officeart/2005/8/layout/orgChart1"/>
    <dgm:cxn modelId="{D8D1A91A-954E-4442-B158-7C49BF05A915}" type="presOf" srcId="{0DD4178D-18E7-432F-B913-CC5E8674AD85}" destId="{4B641B23-6DF0-4FB2-852F-8EEC5B82E9FD}" srcOrd="0" destOrd="0" presId="urn:microsoft.com/office/officeart/2005/8/layout/orgChart1"/>
    <dgm:cxn modelId="{6F812D2A-CF9C-4CDD-A333-A9DCE1408026}" type="presOf" srcId="{D05F1692-8A50-4DB8-815E-51BAFBF0D96C}" destId="{1C449442-8C33-4B57-BEA7-B9654F014B07}" srcOrd="0" destOrd="0" presId="urn:microsoft.com/office/officeart/2005/8/layout/orgChart1"/>
    <dgm:cxn modelId="{6F27542A-8F01-4EE2-9CFA-EC1C15935210}" type="presOf" srcId="{0252DAB3-430C-4F48-BF02-A5B04EE9EC23}" destId="{5A1BAC47-8D16-4FD5-8D0A-BF9C1FDC22C9}" srcOrd="1" destOrd="0" presId="urn:microsoft.com/office/officeart/2005/8/layout/orgChart1"/>
    <dgm:cxn modelId="{8CBBED40-7C6F-4E2A-901C-BA8AC1C0D054}" srcId="{961304FA-123D-467B-8A7F-D1D9F853E670}" destId="{3C48F8B0-52EF-4364-944F-CFE7F2622399}" srcOrd="0" destOrd="0" parTransId="{25A8CA7D-FFCC-4E91-BB6E-2DFD0395D795}" sibTransId="{13CCB663-7F8E-4EF0-B348-C3112ACD63CE}"/>
    <dgm:cxn modelId="{CF61C55D-FBD0-435F-AA2A-603D86453221}" type="presOf" srcId="{3C48F8B0-52EF-4364-944F-CFE7F2622399}" destId="{4104D8D5-DC8B-4360-AD23-E1678AA7A6EA}" srcOrd="1" destOrd="0" presId="urn:microsoft.com/office/officeart/2005/8/layout/orgChart1"/>
    <dgm:cxn modelId="{DE8B3161-CDAD-4F1C-908C-754175143BE1}" type="presOf" srcId="{6CAD160B-12D0-44CE-817D-17D09FE9E5FE}" destId="{E7A71232-DD6C-4471-B3C7-8D8DFC7D5D20}" srcOrd="0" destOrd="0" presId="urn:microsoft.com/office/officeart/2005/8/layout/orgChart1"/>
    <dgm:cxn modelId="{88CF4843-5A4F-468A-B3F9-B3EC80488C50}" type="presOf" srcId="{A723FD2B-5216-4461-B471-80BEEB63C6D2}" destId="{31D95A8F-A472-4EC6-B94B-D9918AA44C20}" srcOrd="0" destOrd="0" presId="urn:microsoft.com/office/officeart/2005/8/layout/orgChart1"/>
    <dgm:cxn modelId="{7F935546-D729-41A7-9534-39794537493A}" srcId="{3C48F8B0-52EF-4364-944F-CFE7F2622399}" destId="{DBCC19AE-9578-4314-BE29-F3B0D030D416}" srcOrd="0" destOrd="0" parTransId="{D05F1692-8A50-4DB8-815E-51BAFBF0D96C}" sibTransId="{4D718E4F-7D76-4F0F-B75C-730A79F7B9B1}"/>
    <dgm:cxn modelId="{CF7A0C48-B2FD-4D79-ACEA-B34FD934B194}" type="presOf" srcId="{E5BE86AE-8108-4A9E-A4F6-E5DDF7E5BC65}" destId="{33227BA0-D4A8-4B16-B356-887C116FEC3A}" srcOrd="0" destOrd="0" presId="urn:microsoft.com/office/officeart/2005/8/layout/orgChart1"/>
    <dgm:cxn modelId="{B364636A-E4C6-4A78-A4FB-53FC0E2CA34F}" srcId="{CFBB3AB1-09D8-4075-877E-731A8AC58446}" destId="{EE989A2F-18BA-4CE2-A2B8-2AE36B5A9609}" srcOrd="0" destOrd="0" parTransId="{5FFE8B39-3A68-488A-A82C-DF857E03445D}" sibTransId="{5F2E253E-FF20-4D23-A3F5-BE2118B76855}"/>
    <dgm:cxn modelId="{F93AFF74-788D-45E4-A7FE-4E79F26B0191}" type="presOf" srcId="{EE989A2F-18BA-4CE2-A2B8-2AE36B5A9609}" destId="{2C7466C9-4999-4ABA-B8DC-278D7DE988E1}" srcOrd="1" destOrd="0" presId="urn:microsoft.com/office/officeart/2005/8/layout/orgChart1"/>
    <dgm:cxn modelId="{C857907C-B102-498D-BAAC-B61BE345E243}" srcId="{0252DAB3-430C-4F48-BF02-A5B04EE9EC23}" destId="{0DD4178D-18E7-432F-B913-CC5E8674AD85}" srcOrd="0" destOrd="0" parTransId="{AACBB2E2-4B84-480F-A1D0-D0F5E9E0867B}" sibTransId="{3AD723F3-7002-4214-B642-A754D999B3BA}"/>
    <dgm:cxn modelId="{DF739A8E-5765-4958-80DD-E283D648432A}" type="presOf" srcId="{36C4071E-8F64-460A-A0C8-F111C34DC63F}" destId="{07703635-4DF5-41DF-A785-F73CB6E4D226}" srcOrd="1" destOrd="0" presId="urn:microsoft.com/office/officeart/2005/8/layout/orgChart1"/>
    <dgm:cxn modelId="{45CFCE92-7C3D-4E41-BE31-01DEED2CBEB4}" type="presOf" srcId="{CFBB3AB1-09D8-4075-877E-731A8AC58446}" destId="{5DC74452-57DD-4D4C-A33A-7915B1B5A127}" srcOrd="0" destOrd="0" presId="urn:microsoft.com/office/officeart/2005/8/layout/orgChart1"/>
    <dgm:cxn modelId="{F62DD092-7B28-48F1-A7D7-B2FB2D9463FA}" type="presOf" srcId="{385E05AC-E181-409B-BF31-E46F44AB9764}" destId="{79CF3D7B-C06D-44AC-AF63-AD87675593F6}" srcOrd="0" destOrd="0" presId="urn:microsoft.com/office/officeart/2005/8/layout/orgChart1"/>
    <dgm:cxn modelId="{C2B7189D-7B28-4DC8-B0A9-6C9C988E92A2}" type="presOf" srcId="{EE989A2F-18BA-4CE2-A2B8-2AE36B5A9609}" destId="{08F8D1A6-84B4-4446-A759-18A42B149263}" srcOrd="0" destOrd="0" presId="urn:microsoft.com/office/officeart/2005/8/layout/orgChart1"/>
    <dgm:cxn modelId="{CAC0869E-ACAF-4590-AB9F-324071ECD166}" type="presOf" srcId="{0252DAB3-430C-4F48-BF02-A5B04EE9EC23}" destId="{3FF1D505-F108-44CF-B2D4-9F98D796A4D0}" srcOrd="0" destOrd="0" presId="urn:microsoft.com/office/officeart/2005/8/layout/orgChart1"/>
    <dgm:cxn modelId="{B7B5D39E-25CB-4AC8-A535-CD344897BB1C}" type="presOf" srcId="{AACBB2E2-4B84-480F-A1D0-D0F5E9E0867B}" destId="{A407D757-7DAA-49BC-A28A-32088A4E6740}" srcOrd="0" destOrd="0" presId="urn:microsoft.com/office/officeart/2005/8/layout/orgChart1"/>
    <dgm:cxn modelId="{D04E0EA5-D193-4889-9315-B45B4A444738}" srcId="{3C48F8B0-52EF-4364-944F-CFE7F2622399}" destId="{6CAD160B-12D0-44CE-817D-17D09FE9E5FE}" srcOrd="1" destOrd="0" parTransId="{FA772B73-5668-45F7-878B-ED470B43D261}" sibTransId="{098F0283-5D05-49BC-8ADD-CFF0A1DD3BC7}"/>
    <dgm:cxn modelId="{5AFAACB3-3385-4282-8D86-8603BE76912A}" srcId="{EE989A2F-18BA-4CE2-A2B8-2AE36B5A9609}" destId="{36C4071E-8F64-460A-A0C8-F111C34DC63F}" srcOrd="0" destOrd="0" parTransId="{385E05AC-E181-409B-BF31-E46F44AB9764}" sibTransId="{982DE54B-4512-4D7E-B909-8024789E19AE}"/>
    <dgm:cxn modelId="{6C6F27B5-81ED-4477-B26D-92960C809E3B}" type="presOf" srcId="{DBCC19AE-9578-4314-BE29-F3B0D030D416}" destId="{D113A79F-4148-45EA-B0CC-FC76480F9FD7}" srcOrd="1" destOrd="0" presId="urn:microsoft.com/office/officeart/2005/8/layout/orgChart1"/>
    <dgm:cxn modelId="{24CAE9BA-D908-4A22-8CAB-43C35F47D90B}" type="presOf" srcId="{CFBB3AB1-09D8-4075-877E-731A8AC58446}" destId="{38F0DDE9-6595-42FA-9C4C-A6D181708CC8}" srcOrd="1" destOrd="0" presId="urn:microsoft.com/office/officeart/2005/8/layout/orgChart1"/>
    <dgm:cxn modelId="{B2304EBB-3F16-4D8F-95F5-96C5A6372B08}" type="presOf" srcId="{36C4071E-8F64-460A-A0C8-F111C34DC63F}" destId="{555970C1-F91D-4BEA-B57E-55A366F41967}" srcOrd="0" destOrd="0" presId="urn:microsoft.com/office/officeart/2005/8/layout/orgChart1"/>
    <dgm:cxn modelId="{91204BC2-C2B0-443E-98EF-15A6892AE98F}" type="presOf" srcId="{5FFE8B39-3A68-488A-A82C-DF857E03445D}" destId="{2A2A3F54-2B77-4E2B-B001-2D8C0E2304DE}" srcOrd="0" destOrd="0" presId="urn:microsoft.com/office/officeart/2005/8/layout/orgChart1"/>
    <dgm:cxn modelId="{2A456DDA-FFF1-409D-8EE2-63263FE3F845}" type="presOf" srcId="{6CAD160B-12D0-44CE-817D-17D09FE9E5FE}" destId="{9AD62792-9753-49EC-B2EE-C0F764575949}" srcOrd="1" destOrd="0" presId="urn:microsoft.com/office/officeart/2005/8/layout/orgChart1"/>
    <dgm:cxn modelId="{17081AEC-93E3-492B-9B11-DFEBD9B8C155}" type="presOf" srcId="{0DD4178D-18E7-432F-B913-CC5E8674AD85}" destId="{A33AC2EF-B5E5-4517-88A0-A3F5C28E9098}" srcOrd="1" destOrd="0" presId="urn:microsoft.com/office/officeart/2005/8/layout/orgChart1"/>
    <dgm:cxn modelId="{A87D90EE-997C-4DE3-8028-9FBE868FE053}" type="presOf" srcId="{DBCC19AE-9578-4314-BE29-F3B0D030D416}" destId="{E0B8EAC7-F880-4316-8AD8-B2B956CD5CA7}" srcOrd="0" destOrd="0" presId="urn:microsoft.com/office/officeart/2005/8/layout/orgChart1"/>
    <dgm:cxn modelId="{8F3011F3-019E-4CB9-96DA-E044E3DC4B4D}" type="presOf" srcId="{3C48F8B0-52EF-4364-944F-CFE7F2622399}" destId="{94B9A4D9-1915-4C2A-B50E-452B88CD8BAD}" srcOrd="0" destOrd="0" presId="urn:microsoft.com/office/officeart/2005/8/layout/orgChart1"/>
    <dgm:cxn modelId="{600F78F6-6B6E-430A-878B-EED5B364ABB6}" srcId="{3C48F8B0-52EF-4364-944F-CFE7F2622399}" destId="{CFBB3AB1-09D8-4075-877E-731A8AC58446}" srcOrd="2" destOrd="0" parTransId="{A723FD2B-5216-4461-B471-80BEEB63C6D2}" sibTransId="{60DB055F-838A-42B5-802D-F8749B236C6B}"/>
    <dgm:cxn modelId="{22ED0DFD-13FC-4E73-A439-EE1792F84418}" type="presOf" srcId="{961304FA-123D-467B-8A7F-D1D9F853E670}" destId="{FAEDAEE8-2FB0-4C9E-B12D-39FD2EEA09AB}" srcOrd="0" destOrd="0" presId="urn:microsoft.com/office/officeart/2005/8/layout/orgChart1"/>
    <dgm:cxn modelId="{12A4CCF7-4948-4198-8DB0-727A9536C38F}" type="presParOf" srcId="{FAEDAEE8-2FB0-4C9E-B12D-39FD2EEA09AB}" destId="{227E2903-0E8F-44B6-B45E-C7A92EDE3795}" srcOrd="0" destOrd="0" presId="urn:microsoft.com/office/officeart/2005/8/layout/orgChart1"/>
    <dgm:cxn modelId="{67027538-39C2-426A-86B3-6AF05F1C42E5}" type="presParOf" srcId="{227E2903-0E8F-44B6-B45E-C7A92EDE3795}" destId="{E736A252-BDCC-4156-833E-1ADCC0B0E53A}" srcOrd="0" destOrd="0" presId="urn:microsoft.com/office/officeart/2005/8/layout/orgChart1"/>
    <dgm:cxn modelId="{37B1A062-2E23-430E-8A89-0C52CDB38B64}" type="presParOf" srcId="{E736A252-BDCC-4156-833E-1ADCC0B0E53A}" destId="{94B9A4D9-1915-4C2A-B50E-452B88CD8BAD}" srcOrd="0" destOrd="0" presId="urn:microsoft.com/office/officeart/2005/8/layout/orgChart1"/>
    <dgm:cxn modelId="{D71E3DB8-B213-4844-B4F5-04ACC0F3A533}" type="presParOf" srcId="{E736A252-BDCC-4156-833E-1ADCC0B0E53A}" destId="{4104D8D5-DC8B-4360-AD23-E1678AA7A6EA}" srcOrd="1" destOrd="0" presId="urn:microsoft.com/office/officeart/2005/8/layout/orgChart1"/>
    <dgm:cxn modelId="{372E08DC-00A9-4DB8-A643-4C38C705972C}" type="presParOf" srcId="{227E2903-0E8F-44B6-B45E-C7A92EDE3795}" destId="{DE4FFE11-C073-4327-996D-7BFB464C45A4}" srcOrd="1" destOrd="0" presId="urn:microsoft.com/office/officeart/2005/8/layout/orgChart1"/>
    <dgm:cxn modelId="{91E63927-F7F1-4814-AF64-BFE41CF05721}" type="presParOf" srcId="{DE4FFE11-C073-4327-996D-7BFB464C45A4}" destId="{21C9AE70-6F56-4D63-AD53-852F83FAA370}" srcOrd="0" destOrd="0" presId="urn:microsoft.com/office/officeart/2005/8/layout/orgChart1"/>
    <dgm:cxn modelId="{394D4BC8-071A-4CAE-BF33-E13660957186}" type="presParOf" srcId="{DE4FFE11-C073-4327-996D-7BFB464C45A4}" destId="{67E46A76-1A2A-4CB6-B2BB-CBE9ECD34587}" srcOrd="1" destOrd="0" presId="urn:microsoft.com/office/officeart/2005/8/layout/orgChart1"/>
    <dgm:cxn modelId="{98FDA1D5-9D65-4699-A392-354F749CC4A4}" type="presParOf" srcId="{67E46A76-1A2A-4CB6-B2BB-CBE9ECD34587}" destId="{4D93DCD1-B708-41D6-89A8-DE93B407755D}" srcOrd="0" destOrd="0" presId="urn:microsoft.com/office/officeart/2005/8/layout/orgChart1"/>
    <dgm:cxn modelId="{9A8DBB9D-5907-471F-812D-A5B5BF0034F8}" type="presParOf" srcId="{4D93DCD1-B708-41D6-89A8-DE93B407755D}" destId="{E7A71232-DD6C-4471-B3C7-8D8DFC7D5D20}" srcOrd="0" destOrd="0" presId="urn:microsoft.com/office/officeart/2005/8/layout/orgChart1"/>
    <dgm:cxn modelId="{263DB3A6-1697-4629-941F-FC7505F8CC11}" type="presParOf" srcId="{4D93DCD1-B708-41D6-89A8-DE93B407755D}" destId="{9AD62792-9753-49EC-B2EE-C0F764575949}" srcOrd="1" destOrd="0" presId="urn:microsoft.com/office/officeart/2005/8/layout/orgChart1"/>
    <dgm:cxn modelId="{3EAE26B5-E3D1-4F0C-B995-575E12B66709}" type="presParOf" srcId="{67E46A76-1A2A-4CB6-B2BB-CBE9ECD34587}" destId="{524184FC-9F10-4331-BB96-40FE47308F21}" srcOrd="1" destOrd="0" presId="urn:microsoft.com/office/officeart/2005/8/layout/orgChart1"/>
    <dgm:cxn modelId="{646AA595-A5DA-4BE2-B806-4BBD34628C63}" type="presParOf" srcId="{67E46A76-1A2A-4CB6-B2BB-CBE9ECD34587}" destId="{92542CF4-1C13-46E5-96BF-1B4D2BAF8379}" srcOrd="2" destOrd="0" presId="urn:microsoft.com/office/officeart/2005/8/layout/orgChart1"/>
    <dgm:cxn modelId="{55AA442D-D76E-488D-8247-A5C0C0810031}" type="presParOf" srcId="{DE4FFE11-C073-4327-996D-7BFB464C45A4}" destId="{31D95A8F-A472-4EC6-B94B-D9918AA44C20}" srcOrd="2" destOrd="0" presId="urn:microsoft.com/office/officeart/2005/8/layout/orgChart1"/>
    <dgm:cxn modelId="{1A866B75-78F2-4CD0-943B-2597A07EC862}" type="presParOf" srcId="{DE4FFE11-C073-4327-996D-7BFB464C45A4}" destId="{EF658EDF-970F-44AF-A65D-9D6ED29FA349}" srcOrd="3" destOrd="0" presId="urn:microsoft.com/office/officeart/2005/8/layout/orgChart1"/>
    <dgm:cxn modelId="{14D76660-FED5-41BE-8C77-7B01024ECA9C}" type="presParOf" srcId="{EF658EDF-970F-44AF-A65D-9D6ED29FA349}" destId="{C1FBE83C-FCD9-4957-A9C7-79E5D961AB48}" srcOrd="0" destOrd="0" presId="urn:microsoft.com/office/officeart/2005/8/layout/orgChart1"/>
    <dgm:cxn modelId="{D2F5B0FA-D9C7-439C-A12A-FEBEBE0554BA}" type="presParOf" srcId="{C1FBE83C-FCD9-4957-A9C7-79E5D961AB48}" destId="{5DC74452-57DD-4D4C-A33A-7915B1B5A127}" srcOrd="0" destOrd="0" presId="urn:microsoft.com/office/officeart/2005/8/layout/orgChart1"/>
    <dgm:cxn modelId="{AD31DBDB-C1A2-41CE-BB78-DCE3F02DDB46}" type="presParOf" srcId="{C1FBE83C-FCD9-4957-A9C7-79E5D961AB48}" destId="{38F0DDE9-6595-42FA-9C4C-A6D181708CC8}" srcOrd="1" destOrd="0" presId="urn:microsoft.com/office/officeart/2005/8/layout/orgChart1"/>
    <dgm:cxn modelId="{BBEFA873-C529-4B64-8063-164B64770A06}" type="presParOf" srcId="{EF658EDF-970F-44AF-A65D-9D6ED29FA349}" destId="{6B875C3B-0C14-4EF4-9031-40ECBFE907AE}" srcOrd="1" destOrd="0" presId="urn:microsoft.com/office/officeart/2005/8/layout/orgChart1"/>
    <dgm:cxn modelId="{C00F4AC0-C8D5-498E-96A5-3DBEF79951FE}" type="presParOf" srcId="{6B875C3B-0C14-4EF4-9031-40ECBFE907AE}" destId="{2A2A3F54-2B77-4E2B-B001-2D8C0E2304DE}" srcOrd="0" destOrd="0" presId="urn:microsoft.com/office/officeart/2005/8/layout/orgChart1"/>
    <dgm:cxn modelId="{1194E8A5-F3A7-4726-BE0D-6A03C138185B}" type="presParOf" srcId="{6B875C3B-0C14-4EF4-9031-40ECBFE907AE}" destId="{63EDB987-C4F9-47F7-8EBF-8C6B69E05CCA}" srcOrd="1" destOrd="0" presId="urn:microsoft.com/office/officeart/2005/8/layout/orgChart1"/>
    <dgm:cxn modelId="{003D7C16-6516-43EE-ADF3-3952816B973F}" type="presParOf" srcId="{63EDB987-C4F9-47F7-8EBF-8C6B69E05CCA}" destId="{9C8C1180-A738-4089-B1B3-7BDD0EA63212}" srcOrd="0" destOrd="0" presId="urn:microsoft.com/office/officeart/2005/8/layout/orgChart1"/>
    <dgm:cxn modelId="{FB54B177-5223-4876-9D03-20CA2D562FDF}" type="presParOf" srcId="{9C8C1180-A738-4089-B1B3-7BDD0EA63212}" destId="{08F8D1A6-84B4-4446-A759-18A42B149263}" srcOrd="0" destOrd="0" presId="urn:microsoft.com/office/officeart/2005/8/layout/orgChart1"/>
    <dgm:cxn modelId="{35247518-A15F-41D1-A8AD-6CFF01A003DC}" type="presParOf" srcId="{9C8C1180-A738-4089-B1B3-7BDD0EA63212}" destId="{2C7466C9-4999-4ABA-B8DC-278D7DE988E1}" srcOrd="1" destOrd="0" presId="urn:microsoft.com/office/officeart/2005/8/layout/orgChart1"/>
    <dgm:cxn modelId="{85936F73-8FF7-4CC3-BF7A-F243E050EE13}" type="presParOf" srcId="{63EDB987-C4F9-47F7-8EBF-8C6B69E05CCA}" destId="{119E49DE-2E2D-469A-B16A-986D3F1D6A74}" srcOrd="1" destOrd="0" presId="urn:microsoft.com/office/officeart/2005/8/layout/orgChart1"/>
    <dgm:cxn modelId="{10C7C67D-4184-40CC-AA8E-3CE500B5DCE0}" type="presParOf" srcId="{119E49DE-2E2D-469A-B16A-986D3F1D6A74}" destId="{79CF3D7B-C06D-44AC-AF63-AD87675593F6}" srcOrd="0" destOrd="0" presId="urn:microsoft.com/office/officeart/2005/8/layout/orgChart1"/>
    <dgm:cxn modelId="{65C28605-725E-4001-89B6-5F8EF7C9C531}" type="presParOf" srcId="{119E49DE-2E2D-469A-B16A-986D3F1D6A74}" destId="{4030F730-F1C6-4D9D-86A8-72F9427B250F}" srcOrd="1" destOrd="0" presId="urn:microsoft.com/office/officeart/2005/8/layout/orgChart1"/>
    <dgm:cxn modelId="{5AB04BE7-EEC7-4041-91EB-33B6A5FACC85}" type="presParOf" srcId="{4030F730-F1C6-4D9D-86A8-72F9427B250F}" destId="{CF0DDB7B-0E6A-4689-B191-D1D7BD186402}" srcOrd="0" destOrd="0" presId="urn:microsoft.com/office/officeart/2005/8/layout/orgChart1"/>
    <dgm:cxn modelId="{BFE3D4DF-D158-4E5A-A676-EBCA46450D03}" type="presParOf" srcId="{CF0DDB7B-0E6A-4689-B191-D1D7BD186402}" destId="{555970C1-F91D-4BEA-B57E-55A366F41967}" srcOrd="0" destOrd="0" presId="urn:microsoft.com/office/officeart/2005/8/layout/orgChart1"/>
    <dgm:cxn modelId="{F67F4533-BF75-46CB-9190-69DFE625D58B}" type="presParOf" srcId="{CF0DDB7B-0E6A-4689-B191-D1D7BD186402}" destId="{07703635-4DF5-41DF-A785-F73CB6E4D226}" srcOrd="1" destOrd="0" presId="urn:microsoft.com/office/officeart/2005/8/layout/orgChart1"/>
    <dgm:cxn modelId="{5436CCFD-2E36-41C1-B4D1-CED9801B306F}" type="presParOf" srcId="{4030F730-F1C6-4D9D-86A8-72F9427B250F}" destId="{1D07D33D-2234-4180-90B6-F4B6278341BD}" srcOrd="1" destOrd="0" presId="urn:microsoft.com/office/officeart/2005/8/layout/orgChart1"/>
    <dgm:cxn modelId="{917BEE14-EACC-4597-94A1-6CF367A911FC}" type="presParOf" srcId="{1D07D33D-2234-4180-90B6-F4B6278341BD}" destId="{33227BA0-D4A8-4B16-B356-887C116FEC3A}" srcOrd="0" destOrd="0" presId="urn:microsoft.com/office/officeart/2005/8/layout/orgChart1"/>
    <dgm:cxn modelId="{15810F7D-389A-4529-A2E2-1DBDD8BC86CE}" type="presParOf" srcId="{1D07D33D-2234-4180-90B6-F4B6278341BD}" destId="{4E7CE246-A7D0-48BE-8AF5-0620C3A311EA}" srcOrd="1" destOrd="0" presId="urn:microsoft.com/office/officeart/2005/8/layout/orgChart1"/>
    <dgm:cxn modelId="{6DFDB6C6-C1E2-41E7-8DBD-68E387C0C30E}" type="presParOf" srcId="{4E7CE246-A7D0-48BE-8AF5-0620C3A311EA}" destId="{954D01BD-D384-4A80-B2B2-D53C9C6A5258}" srcOrd="0" destOrd="0" presId="urn:microsoft.com/office/officeart/2005/8/layout/orgChart1"/>
    <dgm:cxn modelId="{0342512C-E6D6-4638-A85A-897AC1BD7F72}" type="presParOf" srcId="{954D01BD-D384-4A80-B2B2-D53C9C6A5258}" destId="{3FF1D505-F108-44CF-B2D4-9F98D796A4D0}" srcOrd="0" destOrd="0" presId="urn:microsoft.com/office/officeart/2005/8/layout/orgChart1"/>
    <dgm:cxn modelId="{A43BC009-30AC-4915-A10A-900E2F0F8449}" type="presParOf" srcId="{954D01BD-D384-4A80-B2B2-D53C9C6A5258}" destId="{5A1BAC47-8D16-4FD5-8D0A-BF9C1FDC22C9}" srcOrd="1" destOrd="0" presId="urn:microsoft.com/office/officeart/2005/8/layout/orgChart1"/>
    <dgm:cxn modelId="{852EAC19-DE05-4BEA-A5AB-277307B348A7}" type="presParOf" srcId="{4E7CE246-A7D0-48BE-8AF5-0620C3A311EA}" destId="{E3454E01-0C05-4308-A0AF-AA68E8086BAF}" srcOrd="1" destOrd="0" presId="urn:microsoft.com/office/officeart/2005/8/layout/orgChart1"/>
    <dgm:cxn modelId="{0A1D7682-359F-4DCA-B785-3AEF6C697C00}" type="presParOf" srcId="{E3454E01-0C05-4308-A0AF-AA68E8086BAF}" destId="{A407D757-7DAA-49BC-A28A-32088A4E6740}" srcOrd="0" destOrd="0" presId="urn:microsoft.com/office/officeart/2005/8/layout/orgChart1"/>
    <dgm:cxn modelId="{0EF98E57-D363-42FC-A164-AD094CD0B22A}" type="presParOf" srcId="{E3454E01-0C05-4308-A0AF-AA68E8086BAF}" destId="{CE22FF57-264B-4A9D-9C62-913969710ACF}" srcOrd="1" destOrd="0" presId="urn:microsoft.com/office/officeart/2005/8/layout/orgChart1"/>
    <dgm:cxn modelId="{FA88898E-627C-4F06-A7AE-67C491762014}" type="presParOf" srcId="{CE22FF57-264B-4A9D-9C62-913969710ACF}" destId="{855AD13B-34DC-48C2-8B0B-E726A4F63701}" srcOrd="0" destOrd="0" presId="urn:microsoft.com/office/officeart/2005/8/layout/orgChart1"/>
    <dgm:cxn modelId="{A4B6B257-69E5-418B-A773-B8C15D000F56}" type="presParOf" srcId="{855AD13B-34DC-48C2-8B0B-E726A4F63701}" destId="{4B641B23-6DF0-4FB2-852F-8EEC5B82E9FD}" srcOrd="0" destOrd="0" presId="urn:microsoft.com/office/officeart/2005/8/layout/orgChart1"/>
    <dgm:cxn modelId="{8A3837C7-E70B-44AD-B9B4-EF450F964DD5}" type="presParOf" srcId="{855AD13B-34DC-48C2-8B0B-E726A4F63701}" destId="{A33AC2EF-B5E5-4517-88A0-A3F5C28E9098}" srcOrd="1" destOrd="0" presId="urn:microsoft.com/office/officeart/2005/8/layout/orgChart1"/>
    <dgm:cxn modelId="{0DE20BC4-858F-4318-BDFF-3B87ED9E9A7B}" type="presParOf" srcId="{CE22FF57-264B-4A9D-9C62-913969710ACF}" destId="{AAF4BCF7-EEC7-4EF6-ABC1-64D407DC5335}" srcOrd="1" destOrd="0" presId="urn:microsoft.com/office/officeart/2005/8/layout/orgChart1"/>
    <dgm:cxn modelId="{97AD7358-8F1F-4EF6-A9AE-979AD6B09B95}" type="presParOf" srcId="{CE22FF57-264B-4A9D-9C62-913969710ACF}" destId="{1E864168-098E-4C9E-A8EC-282760C2DBFD}" srcOrd="2" destOrd="0" presId="urn:microsoft.com/office/officeart/2005/8/layout/orgChart1"/>
    <dgm:cxn modelId="{36D0E591-0671-4B63-90CB-5770C45D9A80}" type="presParOf" srcId="{4E7CE246-A7D0-48BE-8AF5-0620C3A311EA}" destId="{F644338E-CF12-45F7-820F-0EDF6254DF84}" srcOrd="2" destOrd="0" presId="urn:microsoft.com/office/officeart/2005/8/layout/orgChart1"/>
    <dgm:cxn modelId="{F53BB3B0-A733-4CF3-B6FD-AAFC65E1D02C}" type="presParOf" srcId="{4030F730-F1C6-4D9D-86A8-72F9427B250F}" destId="{4F7E3EED-CBCF-441B-8DF6-B9632A5510BA}" srcOrd="2" destOrd="0" presId="urn:microsoft.com/office/officeart/2005/8/layout/orgChart1"/>
    <dgm:cxn modelId="{EFA159ED-7A47-4E14-A85E-0D60369E9577}" type="presParOf" srcId="{63EDB987-C4F9-47F7-8EBF-8C6B69E05CCA}" destId="{F0D85855-93FA-4E4D-859A-96CC76640165}" srcOrd="2" destOrd="0" presId="urn:microsoft.com/office/officeart/2005/8/layout/orgChart1"/>
    <dgm:cxn modelId="{1C5857D7-0D22-4CDD-A71F-534F6C5D1CA9}" type="presParOf" srcId="{EF658EDF-970F-44AF-A65D-9D6ED29FA349}" destId="{B70E435C-1938-4693-9A64-79AC0CCA1F7B}" srcOrd="2" destOrd="0" presId="urn:microsoft.com/office/officeart/2005/8/layout/orgChart1"/>
    <dgm:cxn modelId="{D51A75BC-3B25-42F6-8FB9-914EAF340797}" type="presParOf" srcId="{227E2903-0E8F-44B6-B45E-C7A92EDE3795}" destId="{0DAE499C-450D-4C68-9D23-2D9CB0B06C81}" srcOrd="2" destOrd="0" presId="urn:microsoft.com/office/officeart/2005/8/layout/orgChart1"/>
    <dgm:cxn modelId="{590514B0-7A0D-469B-996C-FD9E65DED2D8}" type="presParOf" srcId="{0DAE499C-450D-4C68-9D23-2D9CB0B06C81}" destId="{1C449442-8C33-4B57-BEA7-B9654F014B07}" srcOrd="0" destOrd="0" presId="urn:microsoft.com/office/officeart/2005/8/layout/orgChart1"/>
    <dgm:cxn modelId="{7709B634-4E56-454F-89CB-1DB84CA1908D}" type="presParOf" srcId="{0DAE499C-450D-4C68-9D23-2D9CB0B06C81}" destId="{E493EAC6-A3D1-4593-9861-330DB1699FF4}" srcOrd="1" destOrd="0" presId="urn:microsoft.com/office/officeart/2005/8/layout/orgChart1"/>
    <dgm:cxn modelId="{34B49137-DD61-4110-950B-F156113CF542}" type="presParOf" srcId="{E493EAC6-A3D1-4593-9861-330DB1699FF4}" destId="{FB62521E-C4D6-43D7-BCE1-B5CDA8760C6B}" srcOrd="0" destOrd="0" presId="urn:microsoft.com/office/officeart/2005/8/layout/orgChart1"/>
    <dgm:cxn modelId="{207D2650-0D4D-4F98-A043-6B706433CBE6}" type="presParOf" srcId="{FB62521E-C4D6-43D7-BCE1-B5CDA8760C6B}" destId="{E0B8EAC7-F880-4316-8AD8-B2B956CD5CA7}" srcOrd="0" destOrd="0" presId="urn:microsoft.com/office/officeart/2005/8/layout/orgChart1"/>
    <dgm:cxn modelId="{652ECC63-97E9-4527-BC20-8060EF1A7B15}" type="presParOf" srcId="{FB62521E-C4D6-43D7-BCE1-B5CDA8760C6B}" destId="{D113A79F-4148-45EA-B0CC-FC76480F9FD7}" srcOrd="1" destOrd="0" presId="urn:microsoft.com/office/officeart/2005/8/layout/orgChart1"/>
    <dgm:cxn modelId="{3990DB58-F2C0-4A80-AEA0-48753B984D9B}" type="presParOf" srcId="{E493EAC6-A3D1-4593-9861-330DB1699FF4}" destId="{C8A10507-3192-4C7F-9AC8-4404142E6DA9}" srcOrd="1" destOrd="0" presId="urn:microsoft.com/office/officeart/2005/8/layout/orgChart1"/>
    <dgm:cxn modelId="{AFCD4EA9-C675-4245-876B-085C8AE1730D}" type="presParOf" srcId="{E493EAC6-A3D1-4593-9861-330DB1699FF4}" destId="{EE50D89A-B4AD-4C3E-93AF-2F77724FC06B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D7FD41-5293-4C8A-958C-2ED77A6004FF}">
      <dsp:nvSpPr>
        <dsp:cNvPr id="0" name=""/>
        <dsp:cNvSpPr/>
      </dsp:nvSpPr>
      <dsp:spPr>
        <a:xfrm>
          <a:off x="3268995" y="-5955"/>
          <a:ext cx="6195488" cy="6195488"/>
        </a:xfrm>
        <a:prstGeom prst="circularArrow">
          <a:avLst>
            <a:gd name="adj1" fmla="val 5274"/>
            <a:gd name="adj2" fmla="val 312630"/>
            <a:gd name="adj3" fmla="val 14190053"/>
            <a:gd name="adj4" fmla="val 17149335"/>
            <a:gd name="adj5" fmla="val 5477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D76F7DA-A05C-456D-9FED-BAA7D5FA686F}">
      <dsp:nvSpPr>
        <dsp:cNvPr id="0" name=""/>
        <dsp:cNvSpPr/>
      </dsp:nvSpPr>
      <dsp:spPr>
        <a:xfrm>
          <a:off x="5163649" y="1015"/>
          <a:ext cx="2406179" cy="1203089"/>
        </a:xfrm>
        <a:prstGeom prst="roundRect">
          <a:avLst/>
        </a:prstGeom>
        <a:solidFill>
          <a:srgbClr val="C65D28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kern="1200" dirty="0">
              <a:solidFill>
                <a:schemeClr val="tx1"/>
              </a:solidFill>
            </a:rPr>
            <a:t>Загруженность учителей </a:t>
          </a:r>
        </a:p>
      </dsp:txBody>
      <dsp:txXfrm>
        <a:off x="5222379" y="59745"/>
        <a:ext cx="2288719" cy="1085629"/>
      </dsp:txXfrm>
    </dsp:sp>
    <dsp:sp modelId="{FF9A7F4E-61A7-4165-9CDE-959383E90EE6}">
      <dsp:nvSpPr>
        <dsp:cNvPr id="0" name=""/>
        <dsp:cNvSpPr/>
      </dsp:nvSpPr>
      <dsp:spPr>
        <a:xfrm>
          <a:off x="7340302" y="1257706"/>
          <a:ext cx="2406179" cy="1203089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solidFill>
                <a:schemeClr val="tx2">
                  <a:lumMod val="10000"/>
                </a:schemeClr>
              </a:solidFill>
            </a:rPr>
            <a:t>Некогда готовить интересные уроки  </a:t>
          </a:r>
        </a:p>
      </dsp:txBody>
      <dsp:txXfrm>
        <a:off x="7399032" y="1316436"/>
        <a:ext cx="2288719" cy="1085629"/>
      </dsp:txXfrm>
    </dsp:sp>
    <dsp:sp modelId="{4F455018-EBF4-4209-9D90-5A9A20CE0B0E}">
      <dsp:nvSpPr>
        <dsp:cNvPr id="0" name=""/>
        <dsp:cNvSpPr/>
      </dsp:nvSpPr>
      <dsp:spPr>
        <a:xfrm>
          <a:off x="7340302" y="3771089"/>
          <a:ext cx="2406179" cy="1203089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solidFill>
                <a:schemeClr val="tx2">
                  <a:lumMod val="10000"/>
                </a:schemeClr>
              </a:solidFill>
            </a:rPr>
            <a:t>Большое количество домашних заданий </a:t>
          </a:r>
        </a:p>
      </dsp:txBody>
      <dsp:txXfrm>
        <a:off x="7399032" y="3829819"/>
        <a:ext cx="2288719" cy="1085629"/>
      </dsp:txXfrm>
    </dsp:sp>
    <dsp:sp modelId="{B78DA06D-FD10-4DAA-80A9-3416FA1DD1C4}">
      <dsp:nvSpPr>
        <dsp:cNvPr id="0" name=""/>
        <dsp:cNvSpPr/>
      </dsp:nvSpPr>
      <dsp:spPr>
        <a:xfrm>
          <a:off x="5163649" y="5027780"/>
          <a:ext cx="2406179" cy="1203089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solidFill>
                <a:schemeClr val="tx2">
                  <a:lumMod val="10000"/>
                </a:schemeClr>
              </a:solidFill>
            </a:rPr>
            <a:t>Низкая  мотивация </a:t>
          </a:r>
        </a:p>
      </dsp:txBody>
      <dsp:txXfrm>
        <a:off x="5222379" y="5086510"/>
        <a:ext cx="2288719" cy="1085629"/>
      </dsp:txXfrm>
    </dsp:sp>
    <dsp:sp modelId="{A656902B-D635-442F-8465-A64FC9976F3B}">
      <dsp:nvSpPr>
        <dsp:cNvPr id="0" name=""/>
        <dsp:cNvSpPr/>
      </dsp:nvSpPr>
      <dsp:spPr>
        <a:xfrm>
          <a:off x="2986996" y="3771089"/>
          <a:ext cx="2406179" cy="1203089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solidFill>
                <a:schemeClr val="tx2">
                  <a:lumMod val="10000"/>
                </a:schemeClr>
              </a:solidFill>
            </a:rPr>
            <a:t>Риски снижения результатов </a:t>
          </a:r>
        </a:p>
      </dsp:txBody>
      <dsp:txXfrm>
        <a:off x="3045726" y="3829819"/>
        <a:ext cx="2288719" cy="1085629"/>
      </dsp:txXfrm>
    </dsp:sp>
    <dsp:sp modelId="{97F211FA-77BA-41DD-8E61-FA1013089D0A}">
      <dsp:nvSpPr>
        <dsp:cNvPr id="0" name=""/>
        <dsp:cNvSpPr/>
      </dsp:nvSpPr>
      <dsp:spPr>
        <a:xfrm>
          <a:off x="2986996" y="1257706"/>
          <a:ext cx="2406179" cy="1203089"/>
        </a:xfrm>
        <a:prstGeom prst="roundRect">
          <a:avLst/>
        </a:prstGeom>
        <a:solidFill>
          <a:srgbClr val="9999FF"/>
        </a:solidFill>
        <a:ln w="12700" cap="flat" cmpd="sng" algn="ctr">
          <a:solidFill>
            <a:srgbClr val="7A70C6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solidFill>
                <a:schemeClr val="tx2">
                  <a:lumMod val="10000"/>
                </a:schemeClr>
              </a:solidFill>
            </a:rPr>
            <a:t>Большое количество контрольных работ и мониторингов </a:t>
          </a:r>
        </a:p>
      </dsp:txBody>
      <dsp:txXfrm>
        <a:off x="3045726" y="1316436"/>
        <a:ext cx="2288719" cy="108562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A39EBC-E47F-4968-A34C-897715195772}">
      <dsp:nvSpPr>
        <dsp:cNvPr id="0" name=""/>
        <dsp:cNvSpPr/>
      </dsp:nvSpPr>
      <dsp:spPr>
        <a:xfrm>
          <a:off x="5808475" y="2479521"/>
          <a:ext cx="513011" cy="52928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292848"/>
              </a:lnTo>
              <a:lnTo>
                <a:pt x="513011" y="529284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A63CE53-7A93-4B75-B68E-939309640EB4}">
      <dsp:nvSpPr>
        <dsp:cNvPr id="0" name=""/>
        <dsp:cNvSpPr/>
      </dsp:nvSpPr>
      <dsp:spPr>
        <a:xfrm>
          <a:off x="5808475" y="2479521"/>
          <a:ext cx="513011" cy="384191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41912"/>
              </a:lnTo>
              <a:lnTo>
                <a:pt x="513011" y="384191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C020BC3-BF25-43A2-969F-ED957C96FC20}">
      <dsp:nvSpPr>
        <dsp:cNvPr id="0" name=""/>
        <dsp:cNvSpPr/>
      </dsp:nvSpPr>
      <dsp:spPr>
        <a:xfrm>
          <a:off x="5808475" y="2479521"/>
          <a:ext cx="513011" cy="239097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90977"/>
              </a:lnTo>
              <a:lnTo>
                <a:pt x="513011" y="239097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4CB0436-5B91-4A26-9C49-1E1AFFD03570}">
      <dsp:nvSpPr>
        <dsp:cNvPr id="0" name=""/>
        <dsp:cNvSpPr/>
      </dsp:nvSpPr>
      <dsp:spPr>
        <a:xfrm>
          <a:off x="5808475" y="2479521"/>
          <a:ext cx="513011" cy="94004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40042"/>
              </a:lnTo>
              <a:lnTo>
                <a:pt x="513011" y="94004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8FEF888-91B3-4CD8-979F-0EA5D12E4DBD}">
      <dsp:nvSpPr>
        <dsp:cNvPr id="0" name=""/>
        <dsp:cNvSpPr/>
      </dsp:nvSpPr>
      <dsp:spPr>
        <a:xfrm>
          <a:off x="5066101" y="1028586"/>
          <a:ext cx="2110405" cy="4291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4574"/>
              </a:lnTo>
              <a:lnTo>
                <a:pt x="2110405" y="214574"/>
              </a:lnTo>
              <a:lnTo>
                <a:pt x="2110405" y="42914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A92C5CB-995A-407A-A1B3-DA463F5DD687}">
      <dsp:nvSpPr>
        <dsp:cNvPr id="0" name=""/>
        <dsp:cNvSpPr/>
      </dsp:nvSpPr>
      <dsp:spPr>
        <a:xfrm>
          <a:off x="1624822" y="2479521"/>
          <a:ext cx="568749" cy="384191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841912"/>
              </a:lnTo>
              <a:lnTo>
                <a:pt x="568749" y="384191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1EB4837-560C-4032-AF11-1777B2E15349}">
      <dsp:nvSpPr>
        <dsp:cNvPr id="0" name=""/>
        <dsp:cNvSpPr/>
      </dsp:nvSpPr>
      <dsp:spPr>
        <a:xfrm>
          <a:off x="1624822" y="2479521"/>
          <a:ext cx="568749" cy="239097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90977"/>
              </a:lnTo>
              <a:lnTo>
                <a:pt x="568749" y="239097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8E78DC8-6539-4AB6-BA6F-C6EF734BF7B2}">
      <dsp:nvSpPr>
        <dsp:cNvPr id="0" name=""/>
        <dsp:cNvSpPr/>
      </dsp:nvSpPr>
      <dsp:spPr>
        <a:xfrm>
          <a:off x="1624822" y="2479521"/>
          <a:ext cx="568749" cy="94004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940042"/>
              </a:lnTo>
              <a:lnTo>
                <a:pt x="568749" y="94004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E0FFAD6-D821-4F6C-AFFB-19F56B884D87}">
      <dsp:nvSpPr>
        <dsp:cNvPr id="0" name=""/>
        <dsp:cNvSpPr/>
      </dsp:nvSpPr>
      <dsp:spPr>
        <a:xfrm>
          <a:off x="3141486" y="1028586"/>
          <a:ext cx="1924614" cy="429149"/>
        </a:xfrm>
        <a:custGeom>
          <a:avLst/>
          <a:gdLst/>
          <a:ahLst/>
          <a:cxnLst/>
          <a:rect l="0" t="0" r="0" b="0"/>
          <a:pathLst>
            <a:path>
              <a:moveTo>
                <a:pt x="1924614" y="0"/>
              </a:moveTo>
              <a:lnTo>
                <a:pt x="1924614" y="214574"/>
              </a:lnTo>
              <a:lnTo>
                <a:pt x="0" y="214574"/>
              </a:lnTo>
              <a:lnTo>
                <a:pt x="0" y="42914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CD72F38-EC10-4745-9712-B0F95C682C31}">
      <dsp:nvSpPr>
        <dsp:cNvPr id="0" name=""/>
        <dsp:cNvSpPr/>
      </dsp:nvSpPr>
      <dsp:spPr>
        <a:xfrm>
          <a:off x="3356061" y="6800"/>
          <a:ext cx="3420079" cy="1021785"/>
        </a:xfrm>
        <a:prstGeom prst="rect">
          <a:avLst/>
        </a:prstGeom>
        <a:solidFill>
          <a:srgbClr val="575086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/>
            <a:t>Контрольные работы </a:t>
          </a:r>
        </a:p>
      </dsp:txBody>
      <dsp:txXfrm>
        <a:off x="3356061" y="6800"/>
        <a:ext cx="3420079" cy="1021785"/>
      </dsp:txXfrm>
    </dsp:sp>
    <dsp:sp modelId="{8C6C8FB7-A71A-4778-8450-A395ED6726BA}">
      <dsp:nvSpPr>
        <dsp:cNvPr id="0" name=""/>
        <dsp:cNvSpPr/>
      </dsp:nvSpPr>
      <dsp:spPr>
        <a:xfrm>
          <a:off x="1245656" y="1457736"/>
          <a:ext cx="3791661" cy="1021785"/>
        </a:xfrm>
        <a:prstGeom prst="rect">
          <a:avLst/>
        </a:prstGeom>
        <a:solidFill>
          <a:schemeClr val="accent6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>
              <a:solidFill>
                <a:schemeClr val="bg1"/>
              </a:solidFill>
            </a:rPr>
            <a:t>Планирует учитель  </a:t>
          </a:r>
        </a:p>
      </dsp:txBody>
      <dsp:txXfrm>
        <a:off x="1245656" y="1457736"/>
        <a:ext cx="3791661" cy="1021785"/>
      </dsp:txXfrm>
    </dsp:sp>
    <dsp:sp modelId="{BF90F1BC-36D1-41B8-8D4D-EE2F6624BD22}">
      <dsp:nvSpPr>
        <dsp:cNvPr id="0" name=""/>
        <dsp:cNvSpPr/>
      </dsp:nvSpPr>
      <dsp:spPr>
        <a:xfrm>
          <a:off x="2193571" y="2908671"/>
          <a:ext cx="3360876" cy="1021785"/>
        </a:xfrm>
        <a:prstGeom prst="rect">
          <a:avLst/>
        </a:prstGeom>
        <a:solidFill>
          <a:schemeClr val="accent6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>
              <a:solidFill>
                <a:schemeClr val="tx1"/>
              </a:solidFill>
            </a:rPr>
            <a:t>Текущий контроль   </a:t>
          </a:r>
        </a:p>
      </dsp:txBody>
      <dsp:txXfrm>
        <a:off x="2193571" y="2908671"/>
        <a:ext cx="3360876" cy="1021785"/>
      </dsp:txXfrm>
    </dsp:sp>
    <dsp:sp modelId="{FE4EE777-E657-4BA3-9339-642858C13E33}">
      <dsp:nvSpPr>
        <dsp:cNvPr id="0" name=""/>
        <dsp:cNvSpPr/>
      </dsp:nvSpPr>
      <dsp:spPr>
        <a:xfrm>
          <a:off x="2193571" y="4359606"/>
          <a:ext cx="3360876" cy="1021785"/>
        </a:xfrm>
        <a:prstGeom prst="rect">
          <a:avLst/>
        </a:prstGeom>
        <a:solidFill>
          <a:schemeClr val="accent6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>
              <a:solidFill>
                <a:schemeClr val="tx1"/>
              </a:solidFill>
            </a:rPr>
            <a:t>Тематический контроль  </a:t>
          </a:r>
        </a:p>
      </dsp:txBody>
      <dsp:txXfrm>
        <a:off x="2193571" y="4359606"/>
        <a:ext cx="3360876" cy="1021785"/>
      </dsp:txXfrm>
    </dsp:sp>
    <dsp:sp modelId="{2A3FC08A-DC38-4246-B721-0E3EA0A06D08}">
      <dsp:nvSpPr>
        <dsp:cNvPr id="0" name=""/>
        <dsp:cNvSpPr/>
      </dsp:nvSpPr>
      <dsp:spPr>
        <a:xfrm>
          <a:off x="2193571" y="5810541"/>
          <a:ext cx="3360876" cy="1021785"/>
        </a:xfrm>
        <a:prstGeom prst="rect">
          <a:avLst/>
        </a:prstGeom>
        <a:solidFill>
          <a:schemeClr val="accent6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>
              <a:solidFill>
                <a:schemeClr val="tx1"/>
              </a:solidFill>
            </a:rPr>
            <a:t>Итоговый контроль </a:t>
          </a:r>
        </a:p>
      </dsp:txBody>
      <dsp:txXfrm>
        <a:off x="2193571" y="5810541"/>
        <a:ext cx="3360876" cy="1021785"/>
      </dsp:txXfrm>
    </dsp:sp>
    <dsp:sp modelId="{45E5FE00-AA4B-4EDE-B65F-93A520DD04BC}">
      <dsp:nvSpPr>
        <dsp:cNvPr id="0" name=""/>
        <dsp:cNvSpPr/>
      </dsp:nvSpPr>
      <dsp:spPr>
        <a:xfrm>
          <a:off x="5466467" y="1457736"/>
          <a:ext cx="3420079" cy="1021785"/>
        </a:xfrm>
        <a:prstGeom prst="rect">
          <a:avLst/>
        </a:prstGeom>
        <a:solidFill>
          <a:srgbClr val="6C65A3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>
              <a:solidFill>
                <a:schemeClr val="bg1"/>
              </a:solidFill>
            </a:rPr>
            <a:t>Внешние оценочные мероприятия </a:t>
          </a:r>
        </a:p>
      </dsp:txBody>
      <dsp:txXfrm>
        <a:off x="5466467" y="1457736"/>
        <a:ext cx="3420079" cy="1021785"/>
      </dsp:txXfrm>
    </dsp:sp>
    <dsp:sp modelId="{B60E9B29-5F70-439F-B697-8FFD0577B15B}">
      <dsp:nvSpPr>
        <dsp:cNvPr id="0" name=""/>
        <dsp:cNvSpPr/>
      </dsp:nvSpPr>
      <dsp:spPr>
        <a:xfrm>
          <a:off x="6321487" y="2908671"/>
          <a:ext cx="3420079" cy="1021785"/>
        </a:xfrm>
        <a:prstGeom prst="rect">
          <a:avLst/>
        </a:prstGeom>
        <a:solidFill>
          <a:srgbClr val="ABABD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800" kern="1200" dirty="0">
              <a:solidFill>
                <a:schemeClr val="tx1"/>
              </a:solidFill>
            </a:rPr>
            <a:t>НИКО</a:t>
          </a:r>
        </a:p>
      </dsp:txBody>
      <dsp:txXfrm>
        <a:off x="6321487" y="2908671"/>
        <a:ext cx="3420079" cy="1021785"/>
      </dsp:txXfrm>
    </dsp:sp>
    <dsp:sp modelId="{353D768F-0D88-4295-98D4-6F2EE703F395}">
      <dsp:nvSpPr>
        <dsp:cNvPr id="0" name=""/>
        <dsp:cNvSpPr/>
      </dsp:nvSpPr>
      <dsp:spPr>
        <a:xfrm>
          <a:off x="6321487" y="4359606"/>
          <a:ext cx="3420079" cy="1021785"/>
        </a:xfrm>
        <a:prstGeom prst="rect">
          <a:avLst/>
        </a:prstGeom>
        <a:solidFill>
          <a:srgbClr val="ABABD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3600" kern="1200" dirty="0">
              <a:solidFill>
                <a:schemeClr val="tx1"/>
              </a:solidFill>
            </a:rPr>
            <a:t>ВПР</a:t>
          </a:r>
        </a:p>
      </dsp:txBody>
      <dsp:txXfrm>
        <a:off x="6321487" y="4359606"/>
        <a:ext cx="3420079" cy="1021785"/>
      </dsp:txXfrm>
    </dsp:sp>
    <dsp:sp modelId="{8A439D46-C40A-40C8-A883-63686976A02B}">
      <dsp:nvSpPr>
        <dsp:cNvPr id="0" name=""/>
        <dsp:cNvSpPr/>
      </dsp:nvSpPr>
      <dsp:spPr>
        <a:xfrm>
          <a:off x="6321487" y="5810541"/>
          <a:ext cx="3420079" cy="1021785"/>
        </a:xfrm>
        <a:prstGeom prst="rect">
          <a:avLst/>
        </a:prstGeom>
        <a:solidFill>
          <a:srgbClr val="ABABD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>
              <a:solidFill>
                <a:schemeClr val="tx1"/>
              </a:solidFill>
            </a:rPr>
            <a:t>Тематические</a:t>
          </a:r>
          <a:r>
            <a:rPr lang="ru-RU" sz="2400" kern="1200" baseline="0" dirty="0">
              <a:solidFill>
                <a:schemeClr val="tx1"/>
              </a:solidFill>
            </a:rPr>
            <a:t> диктанты </a:t>
          </a:r>
          <a:endParaRPr lang="ru-RU" sz="2400" kern="1200" dirty="0">
            <a:solidFill>
              <a:schemeClr val="tx1"/>
            </a:solidFill>
          </a:endParaRPr>
        </a:p>
      </dsp:txBody>
      <dsp:txXfrm>
        <a:off x="6321487" y="5810541"/>
        <a:ext cx="3420079" cy="1021785"/>
      </dsp:txXfrm>
    </dsp:sp>
    <dsp:sp modelId="{A9DAA1F0-192A-4161-8CBF-626E51575B6B}">
      <dsp:nvSpPr>
        <dsp:cNvPr id="0" name=""/>
        <dsp:cNvSpPr/>
      </dsp:nvSpPr>
      <dsp:spPr>
        <a:xfrm>
          <a:off x="6321487" y="7261476"/>
          <a:ext cx="3464771" cy="1021785"/>
        </a:xfrm>
        <a:prstGeom prst="rect">
          <a:avLst/>
        </a:prstGeom>
        <a:solidFill>
          <a:srgbClr val="ABABD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>
              <a:solidFill>
                <a:schemeClr val="tx1"/>
              </a:solidFill>
            </a:rPr>
            <a:t>Региональные контрольные работы </a:t>
          </a:r>
        </a:p>
      </dsp:txBody>
      <dsp:txXfrm>
        <a:off x="6321487" y="7261476"/>
        <a:ext cx="3464771" cy="102178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790ADB-3940-41FB-858C-93B1416F6AEA}">
      <dsp:nvSpPr>
        <dsp:cNvPr id="0" name=""/>
        <dsp:cNvSpPr/>
      </dsp:nvSpPr>
      <dsp:spPr>
        <a:xfrm>
          <a:off x="9848642" y="3792295"/>
          <a:ext cx="656175" cy="326599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65993"/>
              </a:lnTo>
              <a:lnTo>
                <a:pt x="656175" y="326599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3ECF7B7-F026-410D-83E2-009AA119A58E}">
      <dsp:nvSpPr>
        <dsp:cNvPr id="0" name=""/>
        <dsp:cNvSpPr/>
      </dsp:nvSpPr>
      <dsp:spPr>
        <a:xfrm>
          <a:off x="9848642" y="3792295"/>
          <a:ext cx="656175" cy="203747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37471"/>
              </a:lnTo>
              <a:lnTo>
                <a:pt x="656175" y="203747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D4859E-B7FD-4526-9621-B143FE4B700B}">
      <dsp:nvSpPr>
        <dsp:cNvPr id="0" name=""/>
        <dsp:cNvSpPr/>
      </dsp:nvSpPr>
      <dsp:spPr>
        <a:xfrm>
          <a:off x="9848642" y="3792295"/>
          <a:ext cx="656175" cy="79303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93032"/>
              </a:lnTo>
              <a:lnTo>
                <a:pt x="656175" y="79303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7C850D0-D63D-46BD-A7B7-56FD4094165F}">
      <dsp:nvSpPr>
        <dsp:cNvPr id="0" name=""/>
        <dsp:cNvSpPr/>
      </dsp:nvSpPr>
      <dsp:spPr>
        <a:xfrm>
          <a:off x="6893485" y="2080878"/>
          <a:ext cx="4704959" cy="3304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5226"/>
              </a:lnTo>
              <a:lnTo>
                <a:pt x="4704959" y="165226"/>
              </a:lnTo>
              <a:lnTo>
                <a:pt x="4704959" y="33045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228810A-A105-4C3B-9D75-E0201E6DD212}">
      <dsp:nvSpPr>
        <dsp:cNvPr id="0" name=""/>
        <dsp:cNvSpPr/>
      </dsp:nvSpPr>
      <dsp:spPr>
        <a:xfrm>
          <a:off x="5143682" y="3832429"/>
          <a:ext cx="656175" cy="328188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81883"/>
              </a:lnTo>
              <a:lnTo>
                <a:pt x="656175" y="328188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CEF7576-D1F1-4F39-8956-0E2A90FBB88D}">
      <dsp:nvSpPr>
        <dsp:cNvPr id="0" name=""/>
        <dsp:cNvSpPr/>
      </dsp:nvSpPr>
      <dsp:spPr>
        <a:xfrm>
          <a:off x="5143682" y="3832429"/>
          <a:ext cx="656175" cy="202384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23848"/>
              </a:lnTo>
              <a:lnTo>
                <a:pt x="656175" y="202384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8522DEC-0ABD-41EF-88FF-F188FDC85B0E}">
      <dsp:nvSpPr>
        <dsp:cNvPr id="0" name=""/>
        <dsp:cNvSpPr/>
      </dsp:nvSpPr>
      <dsp:spPr>
        <a:xfrm>
          <a:off x="5143682" y="3832429"/>
          <a:ext cx="656175" cy="77142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71427"/>
              </a:lnTo>
              <a:lnTo>
                <a:pt x="656175" y="77142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8F5CBF-3EBE-44AC-954B-36F968EB9A5B}">
      <dsp:nvSpPr>
        <dsp:cNvPr id="0" name=""/>
        <dsp:cNvSpPr/>
      </dsp:nvSpPr>
      <dsp:spPr>
        <a:xfrm>
          <a:off x="6847765" y="2080878"/>
          <a:ext cx="91440" cy="37058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7058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0739175-9E92-4F9F-8BA3-F1D8ED1A872D}">
      <dsp:nvSpPr>
        <dsp:cNvPr id="0" name=""/>
        <dsp:cNvSpPr/>
      </dsp:nvSpPr>
      <dsp:spPr>
        <a:xfrm>
          <a:off x="438723" y="3792295"/>
          <a:ext cx="656175" cy="33263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326329"/>
              </a:lnTo>
              <a:lnTo>
                <a:pt x="656175" y="332632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801954F-B6EB-4117-9E11-B7DCF685B1BD}">
      <dsp:nvSpPr>
        <dsp:cNvPr id="0" name=""/>
        <dsp:cNvSpPr/>
      </dsp:nvSpPr>
      <dsp:spPr>
        <a:xfrm>
          <a:off x="438723" y="3792295"/>
          <a:ext cx="656175" cy="206711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067113"/>
              </a:lnTo>
              <a:lnTo>
                <a:pt x="656175" y="206711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0861448-2473-4E4B-A8C9-D0862E81B2B5}">
      <dsp:nvSpPr>
        <dsp:cNvPr id="0" name=""/>
        <dsp:cNvSpPr/>
      </dsp:nvSpPr>
      <dsp:spPr>
        <a:xfrm>
          <a:off x="438723" y="3792295"/>
          <a:ext cx="656175" cy="79756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97564"/>
              </a:lnTo>
              <a:lnTo>
                <a:pt x="656175" y="79756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7A27224-5CB8-480D-AD5B-4060270BC77D}">
      <dsp:nvSpPr>
        <dsp:cNvPr id="0" name=""/>
        <dsp:cNvSpPr/>
      </dsp:nvSpPr>
      <dsp:spPr>
        <a:xfrm>
          <a:off x="2188525" y="2080878"/>
          <a:ext cx="4704959" cy="330453"/>
        </a:xfrm>
        <a:custGeom>
          <a:avLst/>
          <a:gdLst/>
          <a:ahLst/>
          <a:cxnLst/>
          <a:rect l="0" t="0" r="0" b="0"/>
          <a:pathLst>
            <a:path>
              <a:moveTo>
                <a:pt x="4704959" y="0"/>
              </a:moveTo>
              <a:lnTo>
                <a:pt x="4704959" y="165226"/>
              </a:lnTo>
              <a:lnTo>
                <a:pt x="0" y="165226"/>
              </a:lnTo>
              <a:lnTo>
                <a:pt x="0" y="33045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3791CD3-38AA-4F89-AAFC-5274DD6B17DA}">
      <dsp:nvSpPr>
        <dsp:cNvPr id="0" name=""/>
        <dsp:cNvSpPr/>
      </dsp:nvSpPr>
      <dsp:spPr>
        <a:xfrm>
          <a:off x="3802954" y="699915"/>
          <a:ext cx="6181062" cy="1380963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solidFill>
                <a:schemeClr val="tx1"/>
              </a:solidFill>
            </a:rPr>
            <a:t>Основные механизмы 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solidFill>
                <a:schemeClr val="tx1"/>
              </a:solidFill>
            </a:rPr>
            <a:t>снижения количества оценочных мероприятий  </a:t>
          </a:r>
        </a:p>
      </dsp:txBody>
      <dsp:txXfrm>
        <a:off x="3802954" y="699915"/>
        <a:ext cx="6181062" cy="1380963"/>
      </dsp:txXfrm>
    </dsp:sp>
    <dsp:sp modelId="{9C41DC07-EEE1-4E90-B128-59D6DDE708BC}">
      <dsp:nvSpPr>
        <dsp:cNvPr id="0" name=""/>
        <dsp:cNvSpPr/>
      </dsp:nvSpPr>
      <dsp:spPr>
        <a:xfrm>
          <a:off x="1272" y="2411331"/>
          <a:ext cx="4374506" cy="1380963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solidFill>
                <a:schemeClr val="tx1"/>
              </a:solidFill>
            </a:rPr>
            <a:t>Нормативно-правовое регулирование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chemeClr val="tx1"/>
              </a:solidFill>
            </a:rPr>
            <a:t>(Формирование ограничений по количеству оценочных мероприятий  </a:t>
          </a:r>
        </a:p>
      </dsp:txBody>
      <dsp:txXfrm>
        <a:off x="1272" y="2411331"/>
        <a:ext cx="4374506" cy="1380963"/>
      </dsp:txXfrm>
    </dsp:sp>
    <dsp:sp modelId="{5D2B4F86-84A9-4AB1-8A3A-4A837396791A}">
      <dsp:nvSpPr>
        <dsp:cNvPr id="0" name=""/>
        <dsp:cNvSpPr/>
      </dsp:nvSpPr>
      <dsp:spPr>
        <a:xfrm>
          <a:off x="1094899" y="4122748"/>
          <a:ext cx="2495597" cy="934222"/>
        </a:xfrm>
        <a:prstGeom prst="rect">
          <a:avLst/>
        </a:prstGeom>
        <a:solidFill>
          <a:schemeClr val="accent6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273 ФЗ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Согласование оценочных процедур с Рособрнадзором </a:t>
          </a:r>
        </a:p>
      </dsp:txBody>
      <dsp:txXfrm>
        <a:off x="1094899" y="4122748"/>
        <a:ext cx="2495597" cy="934222"/>
      </dsp:txXfrm>
    </dsp:sp>
    <dsp:sp modelId="{B0CD3314-DB66-49D6-B805-D354AE4C78A9}">
      <dsp:nvSpPr>
        <dsp:cNvPr id="0" name=""/>
        <dsp:cNvSpPr/>
      </dsp:nvSpPr>
      <dsp:spPr>
        <a:xfrm>
          <a:off x="1094899" y="5387423"/>
          <a:ext cx="2538273" cy="943970"/>
        </a:xfrm>
        <a:prstGeom prst="rect">
          <a:avLst/>
        </a:prstGeom>
        <a:solidFill>
          <a:schemeClr val="accent6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Постановление Правительства РФ 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о мероприятиях об оценке качества образования </a:t>
          </a:r>
        </a:p>
      </dsp:txBody>
      <dsp:txXfrm>
        <a:off x="1094899" y="5387423"/>
        <a:ext cx="2538273" cy="943970"/>
      </dsp:txXfrm>
    </dsp:sp>
    <dsp:sp modelId="{4BB206D1-23A1-429D-A6BD-D3807B88F66E}">
      <dsp:nvSpPr>
        <dsp:cNvPr id="0" name=""/>
        <dsp:cNvSpPr/>
      </dsp:nvSpPr>
      <dsp:spPr>
        <a:xfrm>
          <a:off x="1094899" y="6661847"/>
          <a:ext cx="2543670" cy="913553"/>
        </a:xfrm>
        <a:prstGeom prst="rect">
          <a:avLst/>
        </a:prstGeom>
        <a:solidFill>
          <a:srgbClr val="E86F6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Нормы ФЗ по  проведению оценочных мероприятий общественными организациями </a:t>
          </a:r>
        </a:p>
      </dsp:txBody>
      <dsp:txXfrm>
        <a:off x="1094899" y="6661847"/>
        <a:ext cx="2543670" cy="913553"/>
      </dsp:txXfrm>
    </dsp:sp>
    <dsp:sp modelId="{E2321F2C-A4EC-4F5F-8C33-0F5FA456B6A8}">
      <dsp:nvSpPr>
        <dsp:cNvPr id="0" name=""/>
        <dsp:cNvSpPr/>
      </dsp:nvSpPr>
      <dsp:spPr>
        <a:xfrm>
          <a:off x="4706232" y="2451466"/>
          <a:ext cx="4374506" cy="1380963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2800" b="1" kern="1200" dirty="0">
            <a:solidFill>
              <a:schemeClr val="tx1"/>
            </a:solidFill>
          </a:endParaRPr>
        </a:p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b="1" kern="1200" dirty="0">
              <a:solidFill>
                <a:schemeClr val="tx1"/>
              </a:solidFill>
            </a:rPr>
            <a:t>КНД</a:t>
          </a:r>
        </a:p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(контроль за выполнением требований)</a:t>
          </a:r>
        </a:p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kern="1200" dirty="0"/>
            <a:t> </a:t>
          </a:r>
        </a:p>
      </dsp:txBody>
      <dsp:txXfrm>
        <a:off x="4706232" y="2451466"/>
        <a:ext cx="4374506" cy="1380963"/>
      </dsp:txXfrm>
    </dsp:sp>
    <dsp:sp modelId="{5E66EC84-2683-42BC-BB6C-663085E062C4}">
      <dsp:nvSpPr>
        <dsp:cNvPr id="0" name=""/>
        <dsp:cNvSpPr/>
      </dsp:nvSpPr>
      <dsp:spPr>
        <a:xfrm>
          <a:off x="5799858" y="4122748"/>
          <a:ext cx="2649022" cy="962216"/>
        </a:xfrm>
        <a:prstGeom prst="rect">
          <a:avLst/>
        </a:prstGeom>
        <a:solidFill>
          <a:schemeClr val="accent6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Контроль за согласованием оценочных процедур с Рособрнадзором </a:t>
          </a:r>
        </a:p>
      </dsp:txBody>
      <dsp:txXfrm>
        <a:off x="5799858" y="4122748"/>
        <a:ext cx="2649022" cy="962216"/>
      </dsp:txXfrm>
    </dsp:sp>
    <dsp:sp modelId="{24367C46-551F-4045-9684-7C9A9060123E}">
      <dsp:nvSpPr>
        <dsp:cNvPr id="0" name=""/>
        <dsp:cNvSpPr/>
      </dsp:nvSpPr>
      <dsp:spPr>
        <a:xfrm>
          <a:off x="5799858" y="5415417"/>
          <a:ext cx="2637047" cy="881719"/>
        </a:xfrm>
        <a:prstGeom prst="rect">
          <a:avLst/>
        </a:prstGeom>
        <a:solidFill>
          <a:schemeClr val="accent4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Контроль за соблюдением установленных количественных норм </a:t>
          </a:r>
        </a:p>
      </dsp:txBody>
      <dsp:txXfrm>
        <a:off x="5799858" y="5415417"/>
        <a:ext cx="2637047" cy="881719"/>
      </dsp:txXfrm>
    </dsp:sp>
    <dsp:sp modelId="{DDFD4CFC-FCC1-4162-BD2C-AD0633FA8F6B}">
      <dsp:nvSpPr>
        <dsp:cNvPr id="0" name=""/>
        <dsp:cNvSpPr/>
      </dsp:nvSpPr>
      <dsp:spPr>
        <a:xfrm>
          <a:off x="5799858" y="6627590"/>
          <a:ext cx="2706237" cy="973444"/>
        </a:xfrm>
        <a:prstGeom prst="rect">
          <a:avLst/>
        </a:prstGeom>
        <a:solidFill>
          <a:schemeClr val="accent4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Контроль за использованием результатов оценочных процедур </a:t>
          </a:r>
        </a:p>
      </dsp:txBody>
      <dsp:txXfrm>
        <a:off x="5799858" y="6627590"/>
        <a:ext cx="2706237" cy="973444"/>
      </dsp:txXfrm>
    </dsp:sp>
    <dsp:sp modelId="{C22F9C6E-E1A9-489B-B38A-17BC074A71E5}">
      <dsp:nvSpPr>
        <dsp:cNvPr id="0" name=""/>
        <dsp:cNvSpPr/>
      </dsp:nvSpPr>
      <dsp:spPr>
        <a:xfrm>
          <a:off x="9411191" y="2411331"/>
          <a:ext cx="4374506" cy="1380963"/>
        </a:xfrm>
        <a:prstGeom prst="rect">
          <a:avLst/>
        </a:prstGeom>
        <a:solidFill>
          <a:schemeClr val="accent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solidFill>
                <a:schemeClr val="tx1"/>
              </a:solidFill>
            </a:rPr>
            <a:t>Методическая поддержка</a:t>
          </a: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(эффективное использование оценочных процедур в учебном процессе) </a:t>
          </a:r>
        </a:p>
      </dsp:txBody>
      <dsp:txXfrm>
        <a:off x="9411191" y="2411331"/>
        <a:ext cx="4374506" cy="1380963"/>
      </dsp:txXfrm>
    </dsp:sp>
    <dsp:sp modelId="{2580E695-1069-4DB0-B584-906164E98B45}">
      <dsp:nvSpPr>
        <dsp:cNvPr id="0" name=""/>
        <dsp:cNvSpPr/>
      </dsp:nvSpPr>
      <dsp:spPr>
        <a:xfrm>
          <a:off x="10504818" y="4122748"/>
          <a:ext cx="2597487" cy="925158"/>
        </a:xfrm>
        <a:prstGeom prst="rect">
          <a:avLst/>
        </a:prstGeom>
        <a:solidFill>
          <a:schemeClr val="accent4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Рекомендации по использованию результатов оценочных процедур </a:t>
          </a:r>
        </a:p>
      </dsp:txBody>
      <dsp:txXfrm>
        <a:off x="10504818" y="4122748"/>
        <a:ext cx="2597487" cy="925158"/>
      </dsp:txXfrm>
    </dsp:sp>
    <dsp:sp modelId="{B6B85E33-7F19-45DB-9A32-B03709DC278E}">
      <dsp:nvSpPr>
        <dsp:cNvPr id="0" name=""/>
        <dsp:cNvSpPr/>
      </dsp:nvSpPr>
      <dsp:spPr>
        <a:xfrm>
          <a:off x="10504818" y="5378360"/>
          <a:ext cx="2576023" cy="902813"/>
        </a:xfrm>
        <a:prstGeom prst="rect">
          <a:avLst/>
        </a:prstGeom>
        <a:solidFill>
          <a:srgbClr val="E86F6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Обновление содержания программ,  учебников, дидактических материалов </a:t>
          </a:r>
        </a:p>
      </dsp:txBody>
      <dsp:txXfrm>
        <a:off x="10504818" y="5378360"/>
        <a:ext cx="2576023" cy="902813"/>
      </dsp:txXfrm>
    </dsp:sp>
    <dsp:sp modelId="{74A3DCF8-7840-410F-8EE3-071B594F205F}">
      <dsp:nvSpPr>
        <dsp:cNvPr id="0" name=""/>
        <dsp:cNvSpPr/>
      </dsp:nvSpPr>
      <dsp:spPr>
        <a:xfrm>
          <a:off x="10504818" y="6611626"/>
          <a:ext cx="2612703" cy="893324"/>
        </a:xfrm>
        <a:prstGeom prst="rect">
          <a:avLst/>
        </a:prstGeom>
        <a:solidFill>
          <a:srgbClr val="E86F6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solidFill>
                <a:schemeClr val="tx1"/>
              </a:solidFill>
            </a:rPr>
            <a:t>Повышение квалификации учителей и руководителей </a:t>
          </a:r>
        </a:p>
      </dsp:txBody>
      <dsp:txXfrm>
        <a:off x="10504818" y="6611626"/>
        <a:ext cx="2612703" cy="89332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C449442-8C33-4B57-BEA7-B9654F014B07}">
      <dsp:nvSpPr>
        <dsp:cNvPr id="0" name=""/>
        <dsp:cNvSpPr/>
      </dsp:nvSpPr>
      <dsp:spPr>
        <a:xfrm>
          <a:off x="4971501" y="808117"/>
          <a:ext cx="169042" cy="740568"/>
        </a:xfrm>
        <a:custGeom>
          <a:avLst/>
          <a:gdLst/>
          <a:ahLst/>
          <a:cxnLst/>
          <a:rect l="0" t="0" r="0" b="0"/>
          <a:pathLst>
            <a:path>
              <a:moveTo>
                <a:pt x="169042" y="0"/>
              </a:moveTo>
              <a:lnTo>
                <a:pt x="169042" y="740568"/>
              </a:lnTo>
              <a:lnTo>
                <a:pt x="0" y="740568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07D757-7DAA-49BC-A28A-32088A4E6740}">
      <dsp:nvSpPr>
        <dsp:cNvPr id="0" name=""/>
        <dsp:cNvSpPr/>
      </dsp:nvSpPr>
      <dsp:spPr>
        <a:xfrm>
          <a:off x="5583877" y="6523374"/>
          <a:ext cx="371022" cy="74056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40568"/>
              </a:lnTo>
              <a:lnTo>
                <a:pt x="371022" y="74056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3227BA0-D4A8-4B16-B356-887C116FEC3A}">
      <dsp:nvSpPr>
        <dsp:cNvPr id="0" name=""/>
        <dsp:cNvSpPr/>
      </dsp:nvSpPr>
      <dsp:spPr>
        <a:xfrm>
          <a:off x="6527550" y="5380323"/>
          <a:ext cx="91440" cy="33808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3808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9CF3D7B-C06D-44AC-AF63-AD87675593F6}">
      <dsp:nvSpPr>
        <dsp:cNvPr id="0" name=""/>
        <dsp:cNvSpPr/>
      </dsp:nvSpPr>
      <dsp:spPr>
        <a:xfrm>
          <a:off x="6527550" y="4237271"/>
          <a:ext cx="91440" cy="33808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3808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A2A3F54-2B77-4E2B-B001-2D8C0E2304DE}">
      <dsp:nvSpPr>
        <dsp:cNvPr id="0" name=""/>
        <dsp:cNvSpPr/>
      </dsp:nvSpPr>
      <dsp:spPr>
        <a:xfrm>
          <a:off x="6527550" y="3094220"/>
          <a:ext cx="91440" cy="338085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3808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D95A8F-A472-4EC6-B94B-D9918AA44C20}">
      <dsp:nvSpPr>
        <dsp:cNvPr id="0" name=""/>
        <dsp:cNvSpPr/>
      </dsp:nvSpPr>
      <dsp:spPr>
        <a:xfrm>
          <a:off x="5140544" y="808117"/>
          <a:ext cx="1432726" cy="14811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2094"/>
              </a:lnTo>
              <a:lnTo>
                <a:pt x="1432726" y="1312094"/>
              </a:lnTo>
              <a:lnTo>
                <a:pt x="1432726" y="148113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C9AE70-6F56-4D63-AD53-852F83FAA370}">
      <dsp:nvSpPr>
        <dsp:cNvPr id="0" name=""/>
        <dsp:cNvSpPr/>
      </dsp:nvSpPr>
      <dsp:spPr>
        <a:xfrm>
          <a:off x="3734760" y="808117"/>
          <a:ext cx="1405784" cy="1481137"/>
        </a:xfrm>
        <a:custGeom>
          <a:avLst/>
          <a:gdLst/>
          <a:ahLst/>
          <a:cxnLst/>
          <a:rect l="0" t="0" r="0" b="0"/>
          <a:pathLst>
            <a:path>
              <a:moveTo>
                <a:pt x="1405784" y="0"/>
              </a:moveTo>
              <a:lnTo>
                <a:pt x="1405784" y="1312094"/>
              </a:lnTo>
              <a:lnTo>
                <a:pt x="0" y="1312094"/>
              </a:lnTo>
              <a:lnTo>
                <a:pt x="0" y="1481137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4B9A4D9-1915-4C2A-B50E-452B88CD8BAD}">
      <dsp:nvSpPr>
        <dsp:cNvPr id="0" name=""/>
        <dsp:cNvSpPr/>
      </dsp:nvSpPr>
      <dsp:spPr>
        <a:xfrm>
          <a:off x="3758015" y="3151"/>
          <a:ext cx="2765057" cy="804965"/>
        </a:xfrm>
        <a:prstGeom prst="rect">
          <a:avLst/>
        </a:prstGeom>
        <a:solidFill>
          <a:srgbClr val="C00000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/>
            <a:t>Обращение</a:t>
          </a:r>
          <a:r>
            <a:rPr lang="ru-RU" sz="2900" kern="1200" dirty="0"/>
            <a:t>  </a:t>
          </a:r>
        </a:p>
      </dsp:txBody>
      <dsp:txXfrm>
        <a:off x="3758015" y="3151"/>
        <a:ext cx="2765057" cy="804965"/>
      </dsp:txXfrm>
    </dsp:sp>
    <dsp:sp modelId="{E7A71232-DD6C-4471-B3C7-8D8DFC7D5D20}">
      <dsp:nvSpPr>
        <dsp:cNvPr id="0" name=""/>
        <dsp:cNvSpPr/>
      </dsp:nvSpPr>
      <dsp:spPr>
        <a:xfrm>
          <a:off x="2471076" y="2289254"/>
          <a:ext cx="2527367" cy="804965"/>
        </a:xfrm>
        <a:prstGeom prst="rect">
          <a:avLst/>
        </a:prstGeom>
        <a:solidFill>
          <a:schemeClr val="accent6">
            <a:lumMod val="5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/>
            <a:t>Сортировка по темам </a:t>
          </a:r>
        </a:p>
      </dsp:txBody>
      <dsp:txXfrm>
        <a:off x="2471076" y="2289254"/>
        <a:ext cx="2527367" cy="804965"/>
      </dsp:txXfrm>
    </dsp:sp>
    <dsp:sp modelId="{5DC74452-57DD-4D4C-A33A-7915B1B5A127}">
      <dsp:nvSpPr>
        <dsp:cNvPr id="0" name=""/>
        <dsp:cNvSpPr/>
      </dsp:nvSpPr>
      <dsp:spPr>
        <a:xfrm>
          <a:off x="5336529" y="2289254"/>
          <a:ext cx="2473482" cy="804965"/>
        </a:xfrm>
        <a:prstGeom prst="rect">
          <a:avLst/>
        </a:prstGeom>
        <a:solidFill>
          <a:schemeClr val="accent6">
            <a:lumMod val="5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/>
            <a:t>Сортировка по регионам </a:t>
          </a:r>
        </a:p>
      </dsp:txBody>
      <dsp:txXfrm>
        <a:off x="5336529" y="2289254"/>
        <a:ext cx="2473482" cy="804965"/>
      </dsp:txXfrm>
    </dsp:sp>
    <dsp:sp modelId="{08F8D1A6-84B4-4446-A759-18A42B149263}">
      <dsp:nvSpPr>
        <dsp:cNvPr id="0" name=""/>
        <dsp:cNvSpPr/>
      </dsp:nvSpPr>
      <dsp:spPr>
        <a:xfrm>
          <a:off x="5336529" y="3432306"/>
          <a:ext cx="2473482" cy="804965"/>
        </a:xfrm>
        <a:prstGeom prst="rect">
          <a:avLst/>
        </a:prstGeom>
        <a:solidFill>
          <a:schemeClr val="accent6">
            <a:lumMod val="5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/>
            <a:t>Отправка в РОИВ</a:t>
          </a:r>
        </a:p>
      </dsp:txBody>
      <dsp:txXfrm>
        <a:off x="5336529" y="3432306"/>
        <a:ext cx="2473482" cy="804965"/>
      </dsp:txXfrm>
    </dsp:sp>
    <dsp:sp modelId="{555970C1-F91D-4BEA-B57E-55A366F41967}">
      <dsp:nvSpPr>
        <dsp:cNvPr id="0" name=""/>
        <dsp:cNvSpPr/>
      </dsp:nvSpPr>
      <dsp:spPr>
        <a:xfrm>
          <a:off x="5336529" y="4575357"/>
          <a:ext cx="2473482" cy="804965"/>
        </a:xfrm>
        <a:prstGeom prst="rect">
          <a:avLst/>
        </a:prstGeom>
        <a:solidFill>
          <a:schemeClr val="accent6">
            <a:lumMod val="5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/>
            <a:t>Контроль результата </a:t>
          </a:r>
        </a:p>
      </dsp:txBody>
      <dsp:txXfrm>
        <a:off x="5336529" y="4575357"/>
        <a:ext cx="2473482" cy="804965"/>
      </dsp:txXfrm>
    </dsp:sp>
    <dsp:sp modelId="{3FF1D505-F108-44CF-B2D4-9F98D796A4D0}">
      <dsp:nvSpPr>
        <dsp:cNvPr id="0" name=""/>
        <dsp:cNvSpPr/>
      </dsp:nvSpPr>
      <dsp:spPr>
        <a:xfrm>
          <a:off x="5336529" y="5718408"/>
          <a:ext cx="2473482" cy="804965"/>
        </a:xfrm>
        <a:prstGeom prst="rect">
          <a:avLst/>
        </a:prstGeom>
        <a:solidFill>
          <a:srgbClr val="C00000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/>
            <a:t>Проблема не решена </a:t>
          </a:r>
        </a:p>
      </dsp:txBody>
      <dsp:txXfrm>
        <a:off x="5336529" y="5718408"/>
        <a:ext cx="2473482" cy="804965"/>
      </dsp:txXfrm>
    </dsp:sp>
    <dsp:sp modelId="{4B641B23-6DF0-4FB2-852F-8EEC5B82E9FD}">
      <dsp:nvSpPr>
        <dsp:cNvPr id="0" name=""/>
        <dsp:cNvSpPr/>
      </dsp:nvSpPr>
      <dsp:spPr>
        <a:xfrm>
          <a:off x="5954900" y="6861460"/>
          <a:ext cx="2528703" cy="804965"/>
        </a:xfrm>
        <a:prstGeom prst="rect">
          <a:avLst/>
        </a:prstGeom>
        <a:solidFill>
          <a:srgbClr val="423D67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/>
            <a:t>Рособрнадзор </a:t>
          </a:r>
        </a:p>
      </dsp:txBody>
      <dsp:txXfrm>
        <a:off x="5954900" y="6861460"/>
        <a:ext cx="2528703" cy="804965"/>
      </dsp:txXfrm>
    </dsp:sp>
    <dsp:sp modelId="{E0B8EAC7-F880-4316-8AD8-B2B956CD5CA7}">
      <dsp:nvSpPr>
        <dsp:cNvPr id="0" name=""/>
        <dsp:cNvSpPr/>
      </dsp:nvSpPr>
      <dsp:spPr>
        <a:xfrm>
          <a:off x="2217053" y="1146203"/>
          <a:ext cx="2754448" cy="804965"/>
        </a:xfrm>
        <a:prstGeom prst="rect">
          <a:avLst/>
        </a:prstGeom>
        <a:solidFill>
          <a:srgbClr val="423D67"/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/>
            <a:t>Банк Рособрнадзора  </a:t>
          </a:r>
        </a:p>
      </dsp:txBody>
      <dsp:txXfrm>
        <a:off x="2217053" y="1146203"/>
        <a:ext cx="2754448" cy="80496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F0F3D3-884F-8E45-98AB-E8ADE6E0FD28}" type="datetimeFigureOut">
              <a:rPr lang="ru-RU" smtClean="0"/>
              <a:t>30.09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30288" y="1241425"/>
            <a:ext cx="473710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EBCF3A-9B41-AC48-BBC4-8EC043A9334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79231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1pPr>
    <a:lvl2pPr marL="646469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2pPr>
    <a:lvl3pPr marL="1292937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3pPr>
    <a:lvl4pPr marL="1939406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4pPr>
    <a:lvl5pPr marL="2585874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5pPr>
    <a:lvl6pPr marL="3232343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6pPr>
    <a:lvl7pPr marL="3878810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7pPr>
    <a:lvl8pPr marL="4525280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8pPr>
    <a:lvl9pPr marL="5171747" algn="l" defTabSz="1292937" rtl="0" eaLnBrk="1" latinLnBrk="0" hangingPunct="1">
      <a:defRPr sz="169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3951" y="1749795"/>
            <a:ext cx="12851448" cy="3722335"/>
          </a:xfrm>
        </p:spPr>
        <p:txBody>
          <a:bodyPr anchor="b"/>
          <a:lstStyle>
            <a:lvl1pPr algn="ctr">
              <a:defRPr sz="935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89919" y="5615678"/>
            <a:ext cx="11339513" cy="2581379"/>
          </a:xfrm>
        </p:spPr>
        <p:txBody>
          <a:bodyPr/>
          <a:lstStyle>
            <a:lvl1pPr marL="0" indent="0" algn="ctr">
              <a:buNone/>
              <a:defRPr sz="3742"/>
            </a:lvl1pPr>
            <a:lvl2pPr marL="712775" indent="0" algn="ctr">
              <a:buNone/>
              <a:defRPr sz="3118"/>
            </a:lvl2pPr>
            <a:lvl3pPr marL="1425550" indent="0" algn="ctr">
              <a:buNone/>
              <a:defRPr sz="2806"/>
            </a:lvl3pPr>
            <a:lvl4pPr marL="2138324" indent="0" algn="ctr">
              <a:buNone/>
              <a:defRPr sz="2494"/>
            </a:lvl4pPr>
            <a:lvl5pPr marL="2851099" indent="0" algn="ctr">
              <a:buNone/>
              <a:defRPr sz="2494"/>
            </a:lvl5pPr>
            <a:lvl6pPr marL="3563874" indent="0" algn="ctr">
              <a:buNone/>
              <a:defRPr sz="2494"/>
            </a:lvl6pPr>
            <a:lvl7pPr marL="4276649" indent="0" algn="ctr">
              <a:buNone/>
              <a:defRPr sz="2494"/>
            </a:lvl7pPr>
            <a:lvl8pPr marL="4989424" indent="0" algn="ctr">
              <a:buNone/>
              <a:defRPr sz="2494"/>
            </a:lvl8pPr>
            <a:lvl9pPr marL="5702198" indent="0" algn="ctr">
              <a:buNone/>
              <a:defRPr sz="249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3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64781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3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233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819786" y="569240"/>
            <a:ext cx="3260110" cy="90608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39456" y="569240"/>
            <a:ext cx="9591338" cy="90608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3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32344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/>
          <a:srcRect t="2628" r="7172" b="2628"/>
          <a:stretch/>
        </p:blipFill>
        <p:spPr>
          <a:xfrm>
            <a:off x="7536420" y="0"/>
            <a:ext cx="7582932" cy="1069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5482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/>
          <a:srcRect t="2628" r="37816" b="2628"/>
          <a:stretch/>
        </p:blipFill>
        <p:spPr>
          <a:xfrm>
            <a:off x="10039700" y="0"/>
            <a:ext cx="5079650" cy="1069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6924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723034" y="-57713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965877" y="-200837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11"/>
            <a:ext cx="1352732" cy="1339448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69307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33951" y="1749795"/>
            <a:ext cx="12851448" cy="3722335"/>
          </a:xfrm>
        </p:spPr>
        <p:txBody>
          <a:bodyPr anchor="b"/>
          <a:lstStyle>
            <a:lvl1pPr algn="ctr">
              <a:defRPr sz="935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89919" y="5615678"/>
            <a:ext cx="11339513" cy="2581379"/>
          </a:xfrm>
        </p:spPr>
        <p:txBody>
          <a:bodyPr/>
          <a:lstStyle>
            <a:lvl1pPr marL="0" indent="0" algn="ctr">
              <a:buNone/>
              <a:defRPr sz="3742"/>
            </a:lvl1pPr>
            <a:lvl2pPr marL="712775" indent="0" algn="ctr">
              <a:buNone/>
              <a:defRPr sz="3118"/>
            </a:lvl2pPr>
            <a:lvl3pPr marL="1425550" indent="0" algn="ctr">
              <a:buNone/>
              <a:defRPr sz="2806"/>
            </a:lvl3pPr>
            <a:lvl4pPr marL="2138324" indent="0" algn="ctr">
              <a:buNone/>
              <a:defRPr sz="2494"/>
            </a:lvl4pPr>
            <a:lvl5pPr marL="2851099" indent="0" algn="ctr">
              <a:buNone/>
              <a:defRPr sz="2494"/>
            </a:lvl5pPr>
            <a:lvl6pPr marL="3563874" indent="0" algn="ctr">
              <a:buNone/>
              <a:defRPr sz="2494"/>
            </a:lvl6pPr>
            <a:lvl7pPr marL="4276649" indent="0" algn="ctr">
              <a:buNone/>
              <a:defRPr sz="2494"/>
            </a:lvl7pPr>
            <a:lvl8pPr marL="4989424" indent="0" algn="ctr">
              <a:buNone/>
              <a:defRPr sz="2494"/>
            </a:lvl8pPr>
            <a:lvl9pPr marL="5702198" indent="0" algn="ctr">
              <a:buNone/>
              <a:defRPr sz="249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3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2848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3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88696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1582" y="2665532"/>
            <a:ext cx="13040439" cy="4447496"/>
          </a:xfrm>
        </p:spPr>
        <p:txBody>
          <a:bodyPr anchor="b"/>
          <a:lstStyle>
            <a:lvl1pPr>
              <a:defRPr sz="935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1582" y="7155103"/>
            <a:ext cx="13040439" cy="2338833"/>
          </a:xfrm>
        </p:spPr>
        <p:txBody>
          <a:bodyPr/>
          <a:lstStyle>
            <a:lvl1pPr marL="0" indent="0">
              <a:buNone/>
              <a:defRPr sz="3742">
                <a:solidFill>
                  <a:schemeClr val="tx1"/>
                </a:solidFill>
              </a:defRPr>
            </a:lvl1pPr>
            <a:lvl2pPr marL="712775" indent="0">
              <a:buNone/>
              <a:defRPr sz="3118">
                <a:solidFill>
                  <a:schemeClr val="tx1">
                    <a:tint val="75000"/>
                  </a:schemeClr>
                </a:solidFill>
              </a:defRPr>
            </a:lvl2pPr>
            <a:lvl3pPr marL="1425550" indent="0">
              <a:buNone/>
              <a:defRPr sz="2806">
                <a:solidFill>
                  <a:schemeClr val="tx1">
                    <a:tint val="75000"/>
                  </a:schemeClr>
                </a:solidFill>
              </a:defRPr>
            </a:lvl3pPr>
            <a:lvl4pPr marL="213832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4pPr>
            <a:lvl5pPr marL="2851099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5pPr>
            <a:lvl6pPr marL="356387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6pPr>
            <a:lvl7pPr marL="4276649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7pPr>
            <a:lvl8pPr marL="498942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8pPr>
            <a:lvl9pPr marL="5702198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3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1010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39455" y="2846200"/>
            <a:ext cx="6425724" cy="6783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654171" y="2846200"/>
            <a:ext cx="6425724" cy="6783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30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810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569242"/>
            <a:ext cx="13040439" cy="206659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41426" y="2620980"/>
            <a:ext cx="6396193" cy="1284502"/>
          </a:xfrm>
        </p:spPr>
        <p:txBody>
          <a:bodyPr anchor="b"/>
          <a:lstStyle>
            <a:lvl1pPr marL="0" indent="0">
              <a:buNone/>
              <a:defRPr sz="3742" b="1"/>
            </a:lvl1pPr>
            <a:lvl2pPr marL="712775" indent="0">
              <a:buNone/>
              <a:defRPr sz="3118" b="1"/>
            </a:lvl2pPr>
            <a:lvl3pPr marL="1425550" indent="0">
              <a:buNone/>
              <a:defRPr sz="2806" b="1"/>
            </a:lvl3pPr>
            <a:lvl4pPr marL="2138324" indent="0">
              <a:buNone/>
              <a:defRPr sz="2494" b="1"/>
            </a:lvl4pPr>
            <a:lvl5pPr marL="2851099" indent="0">
              <a:buNone/>
              <a:defRPr sz="2494" b="1"/>
            </a:lvl5pPr>
            <a:lvl6pPr marL="3563874" indent="0">
              <a:buNone/>
              <a:defRPr sz="2494" b="1"/>
            </a:lvl6pPr>
            <a:lvl7pPr marL="4276649" indent="0">
              <a:buNone/>
              <a:defRPr sz="2494" b="1"/>
            </a:lvl7pPr>
            <a:lvl8pPr marL="4989424" indent="0">
              <a:buNone/>
              <a:defRPr sz="2494" b="1"/>
            </a:lvl8pPr>
            <a:lvl9pPr marL="5702198" indent="0">
              <a:buNone/>
              <a:defRPr sz="249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41426" y="3905482"/>
            <a:ext cx="6396193" cy="5744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654172" y="2620980"/>
            <a:ext cx="6427693" cy="1284502"/>
          </a:xfrm>
        </p:spPr>
        <p:txBody>
          <a:bodyPr anchor="b"/>
          <a:lstStyle>
            <a:lvl1pPr marL="0" indent="0">
              <a:buNone/>
              <a:defRPr sz="3742" b="1"/>
            </a:lvl1pPr>
            <a:lvl2pPr marL="712775" indent="0">
              <a:buNone/>
              <a:defRPr sz="3118" b="1"/>
            </a:lvl2pPr>
            <a:lvl3pPr marL="1425550" indent="0">
              <a:buNone/>
              <a:defRPr sz="2806" b="1"/>
            </a:lvl3pPr>
            <a:lvl4pPr marL="2138324" indent="0">
              <a:buNone/>
              <a:defRPr sz="2494" b="1"/>
            </a:lvl4pPr>
            <a:lvl5pPr marL="2851099" indent="0">
              <a:buNone/>
              <a:defRPr sz="2494" b="1"/>
            </a:lvl5pPr>
            <a:lvl6pPr marL="3563874" indent="0">
              <a:buNone/>
              <a:defRPr sz="2494" b="1"/>
            </a:lvl6pPr>
            <a:lvl7pPr marL="4276649" indent="0">
              <a:buNone/>
              <a:defRPr sz="2494" b="1"/>
            </a:lvl7pPr>
            <a:lvl8pPr marL="4989424" indent="0">
              <a:buNone/>
              <a:defRPr sz="2494" b="1"/>
            </a:lvl8pPr>
            <a:lvl9pPr marL="5702198" indent="0">
              <a:buNone/>
              <a:defRPr sz="249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654172" y="3905482"/>
            <a:ext cx="6427693" cy="5744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30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3249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3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98755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30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76707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30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469706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712788"/>
            <a:ext cx="4876384" cy="2494756"/>
          </a:xfrm>
        </p:spPr>
        <p:txBody>
          <a:bodyPr anchor="b"/>
          <a:lstStyle>
            <a:lvl1pPr>
              <a:defRPr sz="498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27693" y="1539425"/>
            <a:ext cx="7654171" cy="7598117"/>
          </a:xfrm>
        </p:spPr>
        <p:txBody>
          <a:bodyPr/>
          <a:lstStyle>
            <a:lvl1pPr>
              <a:defRPr sz="4989"/>
            </a:lvl1pPr>
            <a:lvl2pPr>
              <a:defRPr sz="4365"/>
            </a:lvl2pPr>
            <a:lvl3pPr>
              <a:defRPr sz="3742"/>
            </a:lvl3pPr>
            <a:lvl4pPr>
              <a:defRPr sz="3118"/>
            </a:lvl4pPr>
            <a:lvl5pPr>
              <a:defRPr sz="3118"/>
            </a:lvl5pPr>
            <a:lvl6pPr>
              <a:defRPr sz="3118"/>
            </a:lvl6pPr>
            <a:lvl7pPr>
              <a:defRPr sz="3118"/>
            </a:lvl7pPr>
            <a:lvl8pPr>
              <a:defRPr sz="3118"/>
            </a:lvl8pPr>
            <a:lvl9pPr>
              <a:defRPr sz="3118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41425" y="3207544"/>
            <a:ext cx="4876384" cy="5942372"/>
          </a:xfrm>
        </p:spPr>
        <p:txBody>
          <a:bodyPr/>
          <a:lstStyle>
            <a:lvl1pPr marL="0" indent="0">
              <a:buNone/>
              <a:defRPr sz="2494"/>
            </a:lvl1pPr>
            <a:lvl2pPr marL="712775" indent="0">
              <a:buNone/>
              <a:defRPr sz="2183"/>
            </a:lvl2pPr>
            <a:lvl3pPr marL="1425550" indent="0">
              <a:buNone/>
              <a:defRPr sz="1871"/>
            </a:lvl3pPr>
            <a:lvl4pPr marL="2138324" indent="0">
              <a:buNone/>
              <a:defRPr sz="1559"/>
            </a:lvl4pPr>
            <a:lvl5pPr marL="2851099" indent="0">
              <a:buNone/>
              <a:defRPr sz="1559"/>
            </a:lvl5pPr>
            <a:lvl6pPr marL="3563874" indent="0">
              <a:buNone/>
              <a:defRPr sz="1559"/>
            </a:lvl6pPr>
            <a:lvl7pPr marL="4276649" indent="0">
              <a:buNone/>
              <a:defRPr sz="1559"/>
            </a:lvl7pPr>
            <a:lvl8pPr marL="4989424" indent="0">
              <a:buNone/>
              <a:defRPr sz="1559"/>
            </a:lvl8pPr>
            <a:lvl9pPr marL="5702198" indent="0">
              <a:buNone/>
              <a:defRPr sz="155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30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032024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712788"/>
            <a:ext cx="4876384" cy="2494756"/>
          </a:xfrm>
        </p:spPr>
        <p:txBody>
          <a:bodyPr anchor="b"/>
          <a:lstStyle>
            <a:lvl1pPr>
              <a:defRPr sz="498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427693" y="1539425"/>
            <a:ext cx="7654171" cy="7598117"/>
          </a:xfrm>
        </p:spPr>
        <p:txBody>
          <a:bodyPr anchor="t"/>
          <a:lstStyle>
            <a:lvl1pPr marL="0" indent="0">
              <a:buNone/>
              <a:defRPr sz="4989"/>
            </a:lvl1pPr>
            <a:lvl2pPr marL="712775" indent="0">
              <a:buNone/>
              <a:defRPr sz="4365"/>
            </a:lvl2pPr>
            <a:lvl3pPr marL="1425550" indent="0">
              <a:buNone/>
              <a:defRPr sz="3742"/>
            </a:lvl3pPr>
            <a:lvl4pPr marL="2138324" indent="0">
              <a:buNone/>
              <a:defRPr sz="3118"/>
            </a:lvl4pPr>
            <a:lvl5pPr marL="2851099" indent="0">
              <a:buNone/>
              <a:defRPr sz="3118"/>
            </a:lvl5pPr>
            <a:lvl6pPr marL="3563874" indent="0">
              <a:buNone/>
              <a:defRPr sz="3118"/>
            </a:lvl6pPr>
            <a:lvl7pPr marL="4276649" indent="0">
              <a:buNone/>
              <a:defRPr sz="3118"/>
            </a:lvl7pPr>
            <a:lvl8pPr marL="4989424" indent="0">
              <a:buNone/>
              <a:defRPr sz="3118"/>
            </a:lvl8pPr>
            <a:lvl9pPr marL="5702198" indent="0">
              <a:buNone/>
              <a:defRPr sz="3118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41425" y="3207544"/>
            <a:ext cx="4876384" cy="5942372"/>
          </a:xfrm>
        </p:spPr>
        <p:txBody>
          <a:bodyPr/>
          <a:lstStyle>
            <a:lvl1pPr marL="0" indent="0">
              <a:buNone/>
              <a:defRPr sz="2494"/>
            </a:lvl1pPr>
            <a:lvl2pPr marL="712775" indent="0">
              <a:buNone/>
              <a:defRPr sz="2183"/>
            </a:lvl2pPr>
            <a:lvl3pPr marL="1425550" indent="0">
              <a:buNone/>
              <a:defRPr sz="1871"/>
            </a:lvl3pPr>
            <a:lvl4pPr marL="2138324" indent="0">
              <a:buNone/>
              <a:defRPr sz="1559"/>
            </a:lvl4pPr>
            <a:lvl5pPr marL="2851099" indent="0">
              <a:buNone/>
              <a:defRPr sz="1559"/>
            </a:lvl5pPr>
            <a:lvl6pPr marL="3563874" indent="0">
              <a:buNone/>
              <a:defRPr sz="1559"/>
            </a:lvl6pPr>
            <a:lvl7pPr marL="4276649" indent="0">
              <a:buNone/>
              <a:defRPr sz="1559"/>
            </a:lvl7pPr>
            <a:lvl8pPr marL="4989424" indent="0">
              <a:buNone/>
              <a:defRPr sz="1559"/>
            </a:lvl8pPr>
            <a:lvl9pPr marL="5702198" indent="0">
              <a:buNone/>
              <a:defRPr sz="155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30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9942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3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02914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819786" y="569240"/>
            <a:ext cx="3260110" cy="906081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39456" y="569240"/>
            <a:ext cx="9591338" cy="906081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3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14324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C35AF6F3-B095-B057-C0EE-75899C8CB192}"/>
              </a:ext>
            </a:extLst>
          </p:cNvPr>
          <p:cNvGrpSpPr/>
          <p:nvPr userDrawn="1"/>
        </p:nvGrpSpPr>
        <p:grpSpPr>
          <a:xfrm>
            <a:off x="-487248" y="888"/>
            <a:ext cx="1530949" cy="1604132"/>
            <a:chOff x="-582970" y="1"/>
            <a:chExt cx="1829334" cy="1916780"/>
          </a:xfrm>
        </p:grpSpPr>
        <p:sp>
          <p:nvSpPr>
            <p:cNvPr id="7" name="Параллелограмм 6">
              <a:extLst>
                <a:ext uri="{FF2B5EF4-FFF2-40B4-BE49-F238E27FC236}">
                  <a16:creationId xmlns:a16="http://schemas.microsoft.com/office/drawing/2014/main" id="{7E0063F6-DAEE-40EB-AA69-53900610854F}"/>
                </a:ext>
              </a:extLst>
            </p:cNvPr>
            <p:cNvSpPr/>
            <p:nvPr userDrawn="1"/>
          </p:nvSpPr>
          <p:spPr>
            <a:xfrm flipH="1">
              <a:off x="-388610" y="143122"/>
              <a:ext cx="1634974" cy="1773659"/>
            </a:xfrm>
            <a:prstGeom prst="parallelogram">
              <a:avLst>
                <a:gd name="adj" fmla="val 82978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127">
                <a:solidFill>
                  <a:prstClr val="white"/>
                </a:solidFill>
              </a:endParaRPr>
            </a:p>
          </p:txBody>
        </p:sp>
        <p:sp>
          <p:nvSpPr>
            <p:cNvPr id="8" name="Параллелограмм 7">
              <a:extLst>
                <a:ext uri="{FF2B5EF4-FFF2-40B4-BE49-F238E27FC236}">
                  <a16:creationId xmlns:a16="http://schemas.microsoft.com/office/drawing/2014/main" id="{DEDE95C7-F512-4831-9DE4-2A8C97B9D18C}"/>
                </a:ext>
              </a:extLst>
            </p:cNvPr>
            <p:cNvSpPr/>
            <p:nvPr userDrawn="1"/>
          </p:nvSpPr>
          <p:spPr>
            <a:xfrm flipH="1">
              <a:off x="-582970" y="1"/>
              <a:ext cx="1634974" cy="1773659"/>
            </a:xfrm>
            <a:prstGeom prst="parallelogram">
              <a:avLst>
                <a:gd name="adj" fmla="val 82978"/>
              </a:avLst>
            </a:prstGeom>
            <a:solidFill>
              <a:srgbClr val="A2A2D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127">
                <a:solidFill>
                  <a:prstClr val="white"/>
                </a:solidFill>
              </a:endParaRPr>
            </a:p>
          </p:txBody>
        </p:sp>
        <p:sp>
          <p:nvSpPr>
            <p:cNvPr id="9" name="Прямоугольный треугольник 8">
              <a:extLst>
                <a:ext uri="{FF2B5EF4-FFF2-40B4-BE49-F238E27FC236}">
                  <a16:creationId xmlns:a16="http://schemas.microsoft.com/office/drawing/2014/main" id="{9E6EBBB3-D026-4F84-A5EC-9EF684A48DCB}"/>
                </a:ext>
              </a:extLst>
            </p:cNvPr>
            <p:cNvSpPr/>
            <p:nvPr userDrawn="1"/>
          </p:nvSpPr>
          <p:spPr>
            <a:xfrm flipH="1" flipV="1">
              <a:off x="2" y="10"/>
              <a:ext cx="1065473" cy="1339448"/>
            </a:xfrm>
            <a:prstGeom prst="rtTriangle">
              <a:avLst/>
            </a:prstGeom>
            <a:solidFill>
              <a:srgbClr val="56508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127">
                <a:solidFill>
                  <a:prstClr val="white"/>
                </a:solidFill>
              </a:endParaRPr>
            </a:p>
          </p:txBody>
        </p:sp>
      </p:grp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194767AD-6F14-465F-B141-A3B8B5C52706}"/>
              </a:ext>
            </a:extLst>
          </p:cNvPr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74122" y="334963"/>
            <a:ext cx="900953" cy="816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41163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16865"/>
          <a:stretch/>
        </p:blipFill>
        <p:spPr>
          <a:xfrm>
            <a:off x="6950503" y="0"/>
            <a:ext cx="8168855" cy="1069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6342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361515" y="234524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723036" y="1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11"/>
            <a:ext cx="1352732" cy="1339448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11905000" y="11"/>
            <a:ext cx="1352732" cy="1339448"/>
          </a:xfrm>
          <a:prstGeom prst="rtTriangl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3257738" y="11"/>
            <a:ext cx="1861619" cy="133944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22" tIns="54012" rIns="108022" bIns="540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3480750" y="220281"/>
            <a:ext cx="1638602" cy="876776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127" b="1" dirty="0">
                <a:solidFill>
                  <a:srgbClr val="7A5D00"/>
                </a:solidFill>
              </a:rPr>
              <a:t>СМИ</a:t>
            </a:r>
          </a:p>
        </p:txBody>
      </p:sp>
    </p:spTree>
    <p:extLst>
      <p:ext uri="{BB962C8B-B14F-4D97-AF65-F5344CB8AC3E}">
        <p14:creationId xmlns:p14="http://schemas.microsoft.com/office/powerpoint/2010/main" val="26444827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361515" y="234524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723036" y="1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11"/>
            <a:ext cx="1352732" cy="1339448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10761796" y="11"/>
            <a:ext cx="1352732" cy="1339448"/>
          </a:xfrm>
          <a:prstGeom prst="rtTriangle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2114534" y="11"/>
            <a:ext cx="3004823" cy="1339448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22" tIns="54012" rIns="108022" bIns="540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2114535" y="220281"/>
            <a:ext cx="3004823" cy="876776"/>
          </a:xfrm>
          <a:prstGeom prst="rect">
            <a:avLst/>
          </a:prstGeom>
          <a:solidFill>
            <a:srgbClr val="B5B5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127" b="1" dirty="0">
                <a:solidFill>
                  <a:srgbClr val="565087"/>
                </a:solidFill>
              </a:rPr>
              <a:t>Мероприятия</a:t>
            </a:r>
          </a:p>
        </p:txBody>
      </p:sp>
    </p:spTree>
    <p:extLst>
      <p:ext uri="{BB962C8B-B14F-4D97-AF65-F5344CB8AC3E}">
        <p14:creationId xmlns:p14="http://schemas.microsoft.com/office/powerpoint/2010/main" val="40599316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31582" y="2665532"/>
            <a:ext cx="13040439" cy="4447496"/>
          </a:xfrm>
        </p:spPr>
        <p:txBody>
          <a:bodyPr anchor="b"/>
          <a:lstStyle>
            <a:lvl1pPr>
              <a:defRPr sz="935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1582" y="7155103"/>
            <a:ext cx="13040439" cy="2338833"/>
          </a:xfrm>
        </p:spPr>
        <p:txBody>
          <a:bodyPr/>
          <a:lstStyle>
            <a:lvl1pPr marL="0" indent="0">
              <a:buNone/>
              <a:defRPr sz="3742">
                <a:solidFill>
                  <a:schemeClr val="tx1"/>
                </a:solidFill>
              </a:defRPr>
            </a:lvl1pPr>
            <a:lvl2pPr marL="712775" indent="0">
              <a:buNone/>
              <a:defRPr sz="3118">
                <a:solidFill>
                  <a:schemeClr val="tx1">
                    <a:tint val="75000"/>
                  </a:schemeClr>
                </a:solidFill>
              </a:defRPr>
            </a:lvl2pPr>
            <a:lvl3pPr marL="1425550" indent="0">
              <a:buNone/>
              <a:defRPr sz="2806">
                <a:solidFill>
                  <a:schemeClr val="tx1">
                    <a:tint val="75000"/>
                  </a:schemeClr>
                </a:solidFill>
              </a:defRPr>
            </a:lvl3pPr>
            <a:lvl4pPr marL="213832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4pPr>
            <a:lvl5pPr marL="2851099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5pPr>
            <a:lvl6pPr marL="356387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6pPr>
            <a:lvl7pPr marL="4276649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7pPr>
            <a:lvl8pPr marL="4989424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8pPr>
            <a:lvl9pPr marL="5702198" indent="0">
              <a:buNone/>
              <a:defRPr sz="249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3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2181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сми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араллелограмм 2"/>
          <p:cNvSpPr/>
          <p:nvPr userDrawn="1"/>
        </p:nvSpPr>
        <p:spPr>
          <a:xfrm flipH="1">
            <a:off x="-361515" y="234524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4" name="Параллелограмм 3"/>
          <p:cNvSpPr/>
          <p:nvPr userDrawn="1"/>
        </p:nvSpPr>
        <p:spPr>
          <a:xfrm flipH="1">
            <a:off x="-723036" y="1"/>
            <a:ext cx="2075775" cy="1773659"/>
          </a:xfrm>
          <a:prstGeom prst="parallelogram">
            <a:avLst>
              <a:gd name="adj" fmla="val 95335"/>
            </a:avLst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5" name="Прямоугольный треугольник 4"/>
          <p:cNvSpPr/>
          <p:nvPr userDrawn="1"/>
        </p:nvSpPr>
        <p:spPr>
          <a:xfrm flipH="1" flipV="1">
            <a:off x="2" y="11"/>
            <a:ext cx="1352732" cy="1339448"/>
          </a:xfrm>
          <a:prstGeom prst="rtTriangle">
            <a:avLst/>
          </a:prstGeom>
          <a:solidFill>
            <a:srgbClr val="5650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6" name="Прямоугольный треугольник 5"/>
          <p:cNvSpPr/>
          <p:nvPr userDrawn="1"/>
        </p:nvSpPr>
        <p:spPr>
          <a:xfrm flipH="1" flipV="1">
            <a:off x="10290360" y="11"/>
            <a:ext cx="1352732" cy="1339448"/>
          </a:xfrm>
          <a:prstGeom prst="rtTriangle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11643096" y="11"/>
            <a:ext cx="3476261" cy="1339448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22" tIns="54012" rIns="108022" bIns="540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1485951" y="220281"/>
            <a:ext cx="3633407" cy="876776"/>
          </a:xfrm>
          <a:prstGeom prst="rect">
            <a:avLst/>
          </a:prstGeom>
          <a:solidFill>
            <a:srgbClr val="41A2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127" b="1" dirty="0">
                <a:solidFill>
                  <a:prstClr val="white"/>
                </a:solidFill>
              </a:rPr>
              <a:t>Социальные сети</a:t>
            </a:r>
          </a:p>
        </p:txBody>
      </p:sp>
    </p:spTree>
    <p:extLst>
      <p:ext uri="{BB962C8B-B14F-4D97-AF65-F5344CB8AC3E}">
        <p14:creationId xmlns:p14="http://schemas.microsoft.com/office/powerpoint/2010/main" val="177596004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297"/>
          <a:stretch/>
        </p:blipFill>
        <p:spPr>
          <a:xfrm>
            <a:off x="7501985" y="4837850"/>
            <a:ext cx="7617368" cy="5853974"/>
          </a:xfrm>
          <a:prstGeom prst="rect">
            <a:avLst/>
          </a:prstGeom>
        </p:spPr>
      </p:pic>
      <p:sp>
        <p:nvSpPr>
          <p:cNvPr id="4" name="Параллелограмм 3"/>
          <p:cNvSpPr/>
          <p:nvPr userDrawn="1"/>
        </p:nvSpPr>
        <p:spPr>
          <a:xfrm flipH="1">
            <a:off x="3495703" y="2"/>
            <a:ext cx="2933003" cy="2687688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6" name="Параллелограмм 5"/>
          <p:cNvSpPr/>
          <p:nvPr userDrawn="1"/>
        </p:nvSpPr>
        <p:spPr>
          <a:xfrm flipH="1">
            <a:off x="-961538" y="3592719"/>
            <a:ext cx="4261604" cy="4172109"/>
          </a:xfrm>
          <a:prstGeom prst="parallelogram">
            <a:avLst>
              <a:gd name="adj" fmla="val 95335"/>
            </a:avLst>
          </a:prstGeom>
          <a:solidFill>
            <a:srgbClr val="77BC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 userDrawn="1"/>
        </p:nvSpPr>
        <p:spPr>
          <a:xfrm>
            <a:off x="1215278" y="3274936"/>
            <a:ext cx="8027766" cy="9341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ru-RU" sz="2735" b="1" dirty="0">
                <a:solidFill>
                  <a:srgbClr val="3D284E"/>
                </a:solidFill>
              </a:rPr>
              <a:t>ПЛАНИРОВАНИЕ ИНФОРМАЦИОННОЙ РАБОТЫ</a:t>
            </a:r>
          </a:p>
        </p:txBody>
      </p:sp>
      <p:sp>
        <p:nvSpPr>
          <p:cNvPr id="10" name="Параллелограмм 9"/>
          <p:cNvSpPr/>
          <p:nvPr userDrawn="1"/>
        </p:nvSpPr>
        <p:spPr>
          <a:xfrm flipH="1">
            <a:off x="1364893" y="9307592"/>
            <a:ext cx="4261604" cy="4172109"/>
          </a:xfrm>
          <a:prstGeom prst="parallelogram">
            <a:avLst>
              <a:gd name="adj" fmla="val 95335"/>
            </a:avLst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5197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39455" y="2846200"/>
            <a:ext cx="6425724" cy="6783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654171" y="2846200"/>
            <a:ext cx="6425724" cy="6783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30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95791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569242"/>
            <a:ext cx="13040439" cy="206659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41426" y="2620980"/>
            <a:ext cx="6396193" cy="1284502"/>
          </a:xfrm>
        </p:spPr>
        <p:txBody>
          <a:bodyPr anchor="b"/>
          <a:lstStyle>
            <a:lvl1pPr marL="0" indent="0">
              <a:buNone/>
              <a:defRPr sz="3742" b="1"/>
            </a:lvl1pPr>
            <a:lvl2pPr marL="712775" indent="0">
              <a:buNone/>
              <a:defRPr sz="3118" b="1"/>
            </a:lvl2pPr>
            <a:lvl3pPr marL="1425550" indent="0">
              <a:buNone/>
              <a:defRPr sz="2806" b="1"/>
            </a:lvl3pPr>
            <a:lvl4pPr marL="2138324" indent="0">
              <a:buNone/>
              <a:defRPr sz="2494" b="1"/>
            </a:lvl4pPr>
            <a:lvl5pPr marL="2851099" indent="0">
              <a:buNone/>
              <a:defRPr sz="2494" b="1"/>
            </a:lvl5pPr>
            <a:lvl6pPr marL="3563874" indent="0">
              <a:buNone/>
              <a:defRPr sz="2494" b="1"/>
            </a:lvl6pPr>
            <a:lvl7pPr marL="4276649" indent="0">
              <a:buNone/>
              <a:defRPr sz="2494" b="1"/>
            </a:lvl7pPr>
            <a:lvl8pPr marL="4989424" indent="0">
              <a:buNone/>
              <a:defRPr sz="2494" b="1"/>
            </a:lvl8pPr>
            <a:lvl9pPr marL="5702198" indent="0">
              <a:buNone/>
              <a:defRPr sz="249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41426" y="3905482"/>
            <a:ext cx="6396193" cy="5744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654172" y="2620980"/>
            <a:ext cx="6427693" cy="1284502"/>
          </a:xfrm>
        </p:spPr>
        <p:txBody>
          <a:bodyPr anchor="b"/>
          <a:lstStyle>
            <a:lvl1pPr marL="0" indent="0">
              <a:buNone/>
              <a:defRPr sz="3742" b="1"/>
            </a:lvl1pPr>
            <a:lvl2pPr marL="712775" indent="0">
              <a:buNone/>
              <a:defRPr sz="3118" b="1"/>
            </a:lvl2pPr>
            <a:lvl3pPr marL="1425550" indent="0">
              <a:buNone/>
              <a:defRPr sz="2806" b="1"/>
            </a:lvl3pPr>
            <a:lvl4pPr marL="2138324" indent="0">
              <a:buNone/>
              <a:defRPr sz="2494" b="1"/>
            </a:lvl4pPr>
            <a:lvl5pPr marL="2851099" indent="0">
              <a:buNone/>
              <a:defRPr sz="2494" b="1"/>
            </a:lvl5pPr>
            <a:lvl6pPr marL="3563874" indent="0">
              <a:buNone/>
              <a:defRPr sz="2494" b="1"/>
            </a:lvl6pPr>
            <a:lvl7pPr marL="4276649" indent="0">
              <a:buNone/>
              <a:defRPr sz="2494" b="1"/>
            </a:lvl7pPr>
            <a:lvl8pPr marL="4989424" indent="0">
              <a:buNone/>
              <a:defRPr sz="2494" b="1"/>
            </a:lvl8pPr>
            <a:lvl9pPr marL="5702198" indent="0">
              <a:buNone/>
              <a:defRPr sz="249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654172" y="3905482"/>
            <a:ext cx="6427693" cy="5744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30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51541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30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9483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30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08310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712788"/>
            <a:ext cx="4876384" cy="2494756"/>
          </a:xfrm>
        </p:spPr>
        <p:txBody>
          <a:bodyPr anchor="b"/>
          <a:lstStyle>
            <a:lvl1pPr>
              <a:defRPr sz="498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27693" y="1539425"/>
            <a:ext cx="7654171" cy="7598117"/>
          </a:xfrm>
        </p:spPr>
        <p:txBody>
          <a:bodyPr/>
          <a:lstStyle>
            <a:lvl1pPr>
              <a:defRPr sz="4989"/>
            </a:lvl1pPr>
            <a:lvl2pPr>
              <a:defRPr sz="4365"/>
            </a:lvl2pPr>
            <a:lvl3pPr>
              <a:defRPr sz="3742"/>
            </a:lvl3pPr>
            <a:lvl4pPr>
              <a:defRPr sz="3118"/>
            </a:lvl4pPr>
            <a:lvl5pPr>
              <a:defRPr sz="3118"/>
            </a:lvl5pPr>
            <a:lvl6pPr>
              <a:defRPr sz="3118"/>
            </a:lvl6pPr>
            <a:lvl7pPr>
              <a:defRPr sz="3118"/>
            </a:lvl7pPr>
            <a:lvl8pPr>
              <a:defRPr sz="3118"/>
            </a:lvl8pPr>
            <a:lvl9pPr>
              <a:defRPr sz="3118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41425" y="3207544"/>
            <a:ext cx="4876384" cy="5942372"/>
          </a:xfrm>
        </p:spPr>
        <p:txBody>
          <a:bodyPr/>
          <a:lstStyle>
            <a:lvl1pPr marL="0" indent="0">
              <a:buNone/>
              <a:defRPr sz="2494"/>
            </a:lvl1pPr>
            <a:lvl2pPr marL="712775" indent="0">
              <a:buNone/>
              <a:defRPr sz="2183"/>
            </a:lvl2pPr>
            <a:lvl3pPr marL="1425550" indent="0">
              <a:buNone/>
              <a:defRPr sz="1871"/>
            </a:lvl3pPr>
            <a:lvl4pPr marL="2138324" indent="0">
              <a:buNone/>
              <a:defRPr sz="1559"/>
            </a:lvl4pPr>
            <a:lvl5pPr marL="2851099" indent="0">
              <a:buNone/>
              <a:defRPr sz="1559"/>
            </a:lvl5pPr>
            <a:lvl6pPr marL="3563874" indent="0">
              <a:buNone/>
              <a:defRPr sz="1559"/>
            </a:lvl6pPr>
            <a:lvl7pPr marL="4276649" indent="0">
              <a:buNone/>
              <a:defRPr sz="1559"/>
            </a:lvl7pPr>
            <a:lvl8pPr marL="4989424" indent="0">
              <a:buNone/>
              <a:defRPr sz="1559"/>
            </a:lvl8pPr>
            <a:lvl9pPr marL="5702198" indent="0">
              <a:buNone/>
              <a:defRPr sz="155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30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94362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1425" y="712788"/>
            <a:ext cx="4876384" cy="2494756"/>
          </a:xfrm>
        </p:spPr>
        <p:txBody>
          <a:bodyPr anchor="b"/>
          <a:lstStyle>
            <a:lvl1pPr>
              <a:defRPr sz="4989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427693" y="1539425"/>
            <a:ext cx="7654171" cy="7598117"/>
          </a:xfrm>
        </p:spPr>
        <p:txBody>
          <a:bodyPr anchor="t"/>
          <a:lstStyle>
            <a:lvl1pPr marL="0" indent="0">
              <a:buNone/>
              <a:defRPr sz="4989"/>
            </a:lvl1pPr>
            <a:lvl2pPr marL="712775" indent="0">
              <a:buNone/>
              <a:defRPr sz="4365"/>
            </a:lvl2pPr>
            <a:lvl3pPr marL="1425550" indent="0">
              <a:buNone/>
              <a:defRPr sz="3742"/>
            </a:lvl3pPr>
            <a:lvl4pPr marL="2138324" indent="0">
              <a:buNone/>
              <a:defRPr sz="3118"/>
            </a:lvl4pPr>
            <a:lvl5pPr marL="2851099" indent="0">
              <a:buNone/>
              <a:defRPr sz="3118"/>
            </a:lvl5pPr>
            <a:lvl6pPr marL="3563874" indent="0">
              <a:buNone/>
              <a:defRPr sz="3118"/>
            </a:lvl6pPr>
            <a:lvl7pPr marL="4276649" indent="0">
              <a:buNone/>
              <a:defRPr sz="3118"/>
            </a:lvl7pPr>
            <a:lvl8pPr marL="4989424" indent="0">
              <a:buNone/>
              <a:defRPr sz="3118"/>
            </a:lvl8pPr>
            <a:lvl9pPr marL="5702198" indent="0">
              <a:buNone/>
              <a:defRPr sz="3118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41425" y="3207544"/>
            <a:ext cx="4876384" cy="5942372"/>
          </a:xfrm>
        </p:spPr>
        <p:txBody>
          <a:bodyPr/>
          <a:lstStyle>
            <a:lvl1pPr marL="0" indent="0">
              <a:buNone/>
              <a:defRPr sz="2494"/>
            </a:lvl1pPr>
            <a:lvl2pPr marL="712775" indent="0">
              <a:buNone/>
              <a:defRPr sz="2183"/>
            </a:lvl2pPr>
            <a:lvl3pPr marL="1425550" indent="0">
              <a:buNone/>
              <a:defRPr sz="1871"/>
            </a:lvl3pPr>
            <a:lvl4pPr marL="2138324" indent="0">
              <a:buNone/>
              <a:defRPr sz="1559"/>
            </a:lvl4pPr>
            <a:lvl5pPr marL="2851099" indent="0">
              <a:buNone/>
              <a:defRPr sz="1559"/>
            </a:lvl5pPr>
            <a:lvl6pPr marL="3563874" indent="0">
              <a:buNone/>
              <a:defRPr sz="1559"/>
            </a:lvl6pPr>
            <a:lvl7pPr marL="4276649" indent="0">
              <a:buNone/>
              <a:defRPr sz="1559"/>
            </a:lvl7pPr>
            <a:lvl8pPr marL="4989424" indent="0">
              <a:buNone/>
              <a:defRPr sz="1559"/>
            </a:lvl8pPr>
            <a:lvl9pPr marL="5702198" indent="0">
              <a:buNone/>
              <a:defRPr sz="1559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9/30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31620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39456" y="569242"/>
            <a:ext cx="13040439" cy="20665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9456" y="2846200"/>
            <a:ext cx="13040439" cy="67838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9455" y="9909729"/>
            <a:ext cx="3401854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9/3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08285" y="9909729"/>
            <a:ext cx="5102781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78041" y="9909729"/>
            <a:ext cx="3401854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2518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24" r:id="rId13"/>
    <p:sldLayoutId id="2147483741" r:id="rId14"/>
  </p:sldLayoutIdLst>
  <p:txStyles>
    <p:titleStyle>
      <a:lvl1pPr algn="l" defTabSz="1425550" rtl="0" eaLnBrk="1" latinLnBrk="0" hangingPunct="1">
        <a:lnSpc>
          <a:spcPct val="90000"/>
        </a:lnSpc>
        <a:spcBef>
          <a:spcPct val="0"/>
        </a:spcBef>
        <a:buNone/>
        <a:defRPr sz="68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6387" indent="-356387" algn="l" defTabSz="1425550" rtl="0" eaLnBrk="1" latinLnBrk="0" hangingPunct="1">
        <a:lnSpc>
          <a:spcPct val="90000"/>
        </a:lnSpc>
        <a:spcBef>
          <a:spcPts val="1559"/>
        </a:spcBef>
        <a:buFont typeface="Arial" panose="020B0604020202020204" pitchFamily="34" charset="0"/>
        <a:buChar char="•"/>
        <a:defRPr sz="4365" kern="1200">
          <a:solidFill>
            <a:schemeClr val="tx1"/>
          </a:solidFill>
          <a:latin typeface="+mn-lt"/>
          <a:ea typeface="+mn-ea"/>
          <a:cs typeface="+mn-cs"/>
        </a:defRPr>
      </a:lvl1pPr>
      <a:lvl2pPr marL="1069162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3742" kern="1200">
          <a:solidFill>
            <a:schemeClr val="tx1"/>
          </a:solidFill>
          <a:latin typeface="+mn-lt"/>
          <a:ea typeface="+mn-ea"/>
          <a:cs typeface="+mn-cs"/>
        </a:defRPr>
      </a:lvl2pPr>
      <a:lvl3pPr marL="1781937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3pPr>
      <a:lvl4pPr marL="2494712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4pPr>
      <a:lvl5pPr marL="3207487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5pPr>
      <a:lvl6pPr marL="3920261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6pPr>
      <a:lvl7pPr marL="4633036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7pPr>
      <a:lvl8pPr marL="5345811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8pPr>
      <a:lvl9pPr marL="6058586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1pPr>
      <a:lvl2pPr marL="712775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2pPr>
      <a:lvl3pPr marL="1425550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3pPr>
      <a:lvl4pPr marL="213832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4pPr>
      <a:lvl5pPr marL="2851099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5pPr>
      <a:lvl6pPr marL="356387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6pPr>
      <a:lvl7pPr marL="4276649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7pPr>
      <a:lvl8pPr marL="498942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8pPr>
      <a:lvl9pPr marL="5702198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39456" y="569242"/>
            <a:ext cx="13040439" cy="20665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9456" y="2846200"/>
            <a:ext cx="13040439" cy="67838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9455" y="9909729"/>
            <a:ext cx="3401854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9/30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008285" y="9909729"/>
            <a:ext cx="5102781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78041" y="9909729"/>
            <a:ext cx="3401854" cy="5692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87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7" name="Object 1" hidden="1">
            <a:extLst>
              <a:ext uri="{FF2B5EF4-FFF2-40B4-BE49-F238E27FC236}">
                <a16:creationId xmlns:a16="http://schemas.microsoft.com/office/drawing/2014/main" id="{0F965F44-8AE5-201B-AA20-8EEA05BF5E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803306847"/>
              </p:ext>
            </p:extLst>
          </p:nvPr>
        </p:nvGraphicFramePr>
        <p:xfrm>
          <a:off x="2383" y="2361"/>
          <a:ext cx="2381" cy="23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473" imgH="476" progId="TCLayout.ActiveDocument.1">
                  <p:embed/>
                </p:oleObj>
              </mc:Choice>
              <mc:Fallback>
                <p:oleObj name="think-cell Slide" r:id="rId20" imgW="473" imgH="476" progId="TCLayout.ActiveDocument.1">
                  <p:embed/>
                  <p:pic>
                    <p:nvPicPr>
                      <p:cNvPr id="7" name="Object 1" hidden="1">
                        <a:extLst>
                          <a:ext uri="{FF2B5EF4-FFF2-40B4-BE49-F238E27FC236}">
                            <a16:creationId xmlns:a16="http://schemas.microsoft.com/office/drawing/2014/main" id="{2F748563-03E9-41A8-A6E7-4A74CBEB3B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383" y="2361"/>
                        <a:ext cx="2381" cy="23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63731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  <p:sldLayoutId id="2147483823" r:id="rId12"/>
    <p:sldLayoutId id="2147483733" r:id="rId13"/>
    <p:sldLayoutId id="2147483735" r:id="rId14"/>
    <p:sldLayoutId id="2147483736" r:id="rId15"/>
    <p:sldLayoutId id="2147483737" r:id="rId16"/>
    <p:sldLayoutId id="2147483738" r:id="rId17"/>
  </p:sldLayoutIdLst>
  <p:txStyles>
    <p:titleStyle>
      <a:lvl1pPr algn="l" defTabSz="1425550" rtl="0" eaLnBrk="1" latinLnBrk="0" hangingPunct="1">
        <a:lnSpc>
          <a:spcPct val="90000"/>
        </a:lnSpc>
        <a:spcBef>
          <a:spcPct val="0"/>
        </a:spcBef>
        <a:buNone/>
        <a:defRPr sz="686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6387" indent="-356387" algn="l" defTabSz="1425550" rtl="0" eaLnBrk="1" latinLnBrk="0" hangingPunct="1">
        <a:lnSpc>
          <a:spcPct val="90000"/>
        </a:lnSpc>
        <a:spcBef>
          <a:spcPts val="1559"/>
        </a:spcBef>
        <a:buFont typeface="Arial" panose="020B0604020202020204" pitchFamily="34" charset="0"/>
        <a:buChar char="•"/>
        <a:defRPr sz="4365" kern="1200">
          <a:solidFill>
            <a:schemeClr val="tx1"/>
          </a:solidFill>
          <a:latin typeface="+mn-lt"/>
          <a:ea typeface="+mn-ea"/>
          <a:cs typeface="+mn-cs"/>
        </a:defRPr>
      </a:lvl1pPr>
      <a:lvl2pPr marL="1069162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3742" kern="1200">
          <a:solidFill>
            <a:schemeClr val="tx1"/>
          </a:solidFill>
          <a:latin typeface="+mn-lt"/>
          <a:ea typeface="+mn-ea"/>
          <a:cs typeface="+mn-cs"/>
        </a:defRPr>
      </a:lvl2pPr>
      <a:lvl3pPr marL="1781937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3118" kern="1200">
          <a:solidFill>
            <a:schemeClr val="tx1"/>
          </a:solidFill>
          <a:latin typeface="+mn-lt"/>
          <a:ea typeface="+mn-ea"/>
          <a:cs typeface="+mn-cs"/>
        </a:defRPr>
      </a:lvl3pPr>
      <a:lvl4pPr marL="2494712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4pPr>
      <a:lvl5pPr marL="3207487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5pPr>
      <a:lvl6pPr marL="3920261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6pPr>
      <a:lvl7pPr marL="4633036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7pPr>
      <a:lvl8pPr marL="5345811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8pPr>
      <a:lvl9pPr marL="6058586" indent="-356387" algn="l" defTabSz="1425550" rtl="0" eaLnBrk="1" latinLnBrk="0" hangingPunct="1">
        <a:lnSpc>
          <a:spcPct val="90000"/>
        </a:lnSpc>
        <a:spcBef>
          <a:spcPts val="780"/>
        </a:spcBef>
        <a:buFont typeface="Arial" panose="020B0604020202020204" pitchFamily="34" charset="0"/>
        <a:buChar char="•"/>
        <a:defRPr sz="280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1pPr>
      <a:lvl2pPr marL="712775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2pPr>
      <a:lvl3pPr marL="1425550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3pPr>
      <a:lvl4pPr marL="213832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4pPr>
      <a:lvl5pPr marL="2851099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5pPr>
      <a:lvl6pPr marL="356387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6pPr>
      <a:lvl7pPr marL="4276649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7pPr>
      <a:lvl8pPr marL="4989424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8pPr>
      <a:lvl9pPr marL="5702198" algn="l" defTabSz="1425550" rtl="0" eaLnBrk="1" latinLnBrk="0" hangingPunct="1">
        <a:defRPr sz="280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7.jpg"/><Relationship Id="rId7" Type="http://schemas.openxmlformats.org/officeDocument/2006/relationships/diagramColors" Target="../diagrams/colors1.xm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4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490BF97-71DD-BA4B-90F6-F29E383222BC}"/>
              </a:ext>
            </a:extLst>
          </p:cNvPr>
          <p:cNvSpPr/>
          <p:nvPr/>
        </p:nvSpPr>
        <p:spPr>
          <a:xfrm>
            <a:off x="1052532" y="4495417"/>
            <a:ext cx="7917296" cy="427809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ctr">
            <a:spAutoFit/>
          </a:bodyPr>
          <a:lstStyle/>
          <a:p>
            <a:r>
              <a:rPr lang="ru-RU" sz="3600" b="1" dirty="0">
                <a:solidFill>
                  <a:srgbClr val="3D28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ЫЕ МЕХАНИЗМЫ СНИЖЕНИЯ БЮРОКРАТИЧЕСКОЙ  НАГРУЗКИ В СИСТЕМЕ ОБРАЗОВАНИЯ</a:t>
            </a:r>
          </a:p>
          <a:p>
            <a:endParaRPr lang="ru-RU" sz="3600" b="1" dirty="0">
              <a:solidFill>
                <a:srgbClr val="3D284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400" b="1" dirty="0">
                <a:solidFill>
                  <a:srgbClr val="3D28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тыникова Н.В.</a:t>
            </a:r>
          </a:p>
          <a:p>
            <a:r>
              <a:rPr lang="ru-RU" sz="2400" dirty="0">
                <a:solidFill>
                  <a:srgbClr val="3D284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ректор ФГБУ «Росаккредагентство»   </a:t>
            </a:r>
          </a:p>
          <a:p>
            <a:endParaRPr lang="ru-RU" sz="3600" b="1" dirty="0">
              <a:solidFill>
                <a:srgbClr val="3D284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4400" b="1" dirty="0">
              <a:solidFill>
                <a:srgbClr val="3D284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0960" y="1663059"/>
            <a:ext cx="2136626" cy="1935349"/>
          </a:xfrm>
          <a:prstGeom prst="rect">
            <a:avLst/>
          </a:prstGeom>
        </p:spPr>
      </p:pic>
      <p:sp>
        <p:nvSpPr>
          <p:cNvPr id="9" name="Параллелограмм 8"/>
          <p:cNvSpPr/>
          <p:nvPr/>
        </p:nvSpPr>
        <p:spPr>
          <a:xfrm flipH="1">
            <a:off x="-764739" y="7205470"/>
            <a:ext cx="2451688" cy="2284219"/>
          </a:xfrm>
          <a:prstGeom prst="parallelogram">
            <a:avLst>
              <a:gd name="adj" fmla="val 90550"/>
            </a:avLst>
          </a:prstGeom>
          <a:solidFill>
            <a:srgbClr val="A2A2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127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4429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113C4B9-B306-0B31-209C-702B7B9D4357}"/>
              </a:ext>
            </a:extLst>
          </p:cNvPr>
          <p:cNvSpPr txBox="1"/>
          <p:nvPr/>
        </p:nvSpPr>
        <p:spPr>
          <a:xfrm>
            <a:off x="1834487" y="625982"/>
            <a:ext cx="11315456" cy="5820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028403"/>
            <a:r>
              <a:rPr lang="ru-RU" sz="3182" b="1" dirty="0">
                <a:solidFill>
                  <a:srgbClr val="423D67"/>
                </a:solidFill>
                <a:latin typeface="Arial" panose="020B0604020202020204"/>
              </a:rPr>
              <a:t>ЧАТ-БОТ СФЕРУМА – ПОМОЩНИК РОСОБРНАДЗОРА </a:t>
            </a: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CBAF671F-045F-1347-9750-5B14C525BF2C}"/>
              </a:ext>
            </a:extLst>
          </p:cNvPr>
          <p:cNvGraphicFramePr/>
          <p:nvPr/>
        </p:nvGraphicFramePr>
        <p:xfrm>
          <a:off x="-1077686" y="2001788"/>
          <a:ext cx="10700657" cy="76695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26C454BB-C8DD-8061-662B-31A499F5C11C}"/>
              </a:ext>
            </a:extLst>
          </p:cNvPr>
          <p:cNvCxnSpPr/>
          <p:nvPr/>
        </p:nvCxnSpPr>
        <p:spPr>
          <a:xfrm>
            <a:off x="8382001" y="1959265"/>
            <a:ext cx="0" cy="7669578"/>
          </a:xfrm>
          <a:prstGeom prst="line">
            <a:avLst/>
          </a:prstGeom>
          <a:ln w="76200">
            <a:solidFill>
              <a:srgbClr val="5650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15F49EA1-9391-3216-7F62-D0D0EECC48C7}"/>
              </a:ext>
            </a:extLst>
          </p:cNvPr>
          <p:cNvSpPr txBox="1"/>
          <p:nvPr/>
        </p:nvSpPr>
        <p:spPr>
          <a:xfrm>
            <a:off x="9525001" y="2364982"/>
            <a:ext cx="3740896" cy="483979"/>
          </a:xfrm>
          <a:prstGeom prst="rect">
            <a:avLst/>
          </a:prstGeom>
          <a:solidFill>
            <a:srgbClr val="CDCDEB"/>
          </a:solidFill>
        </p:spPr>
        <p:txBody>
          <a:bodyPr wrap="none" rtlCol="0">
            <a:spAutoFit/>
          </a:bodyPr>
          <a:lstStyle/>
          <a:p>
            <a:r>
              <a:rPr lang="ru-RU" b="1" dirty="0"/>
              <a:t>АНАЛИТИКА ОНЛАЙН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FCA5AE-5AE3-D62D-2F5A-52EB0DE8B8DA}"/>
              </a:ext>
            </a:extLst>
          </p:cNvPr>
          <p:cNvSpPr txBox="1"/>
          <p:nvPr/>
        </p:nvSpPr>
        <p:spPr>
          <a:xfrm>
            <a:off x="8945340" y="3984171"/>
            <a:ext cx="5238739" cy="40087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q"/>
            </a:pPr>
            <a:r>
              <a:rPr lang="ru-RU" dirty="0"/>
              <a:t> количество сообщений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ru-RU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ru-RU" dirty="0"/>
              <a:t> содержание сообщений 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ru-RU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ru-RU" dirty="0"/>
              <a:t> удовлетворенность    решением  проблем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ru-RU" dirty="0"/>
          </a:p>
          <a:p>
            <a:pPr marL="457200" indent="-457200">
              <a:buFont typeface="Wingdings" panose="05000000000000000000" pitchFamily="2" charset="2"/>
              <a:buChar char="q"/>
            </a:pPr>
            <a:r>
              <a:rPr lang="ru-RU" dirty="0"/>
              <a:t>страна</a:t>
            </a:r>
            <a:r>
              <a:rPr lang="en-US" dirty="0"/>
              <a:t>/</a:t>
            </a:r>
            <a:r>
              <a:rPr lang="ru-RU" dirty="0"/>
              <a:t>регион</a:t>
            </a:r>
            <a:r>
              <a:rPr lang="en-US" dirty="0"/>
              <a:t>/</a:t>
            </a:r>
            <a:r>
              <a:rPr lang="ru-RU" dirty="0"/>
              <a:t>муниципалитет </a:t>
            </a:r>
          </a:p>
          <a:p>
            <a:pPr marL="457200" indent="-457200">
              <a:buFont typeface="Wingdings" panose="05000000000000000000" pitchFamily="2" charset="2"/>
              <a:buChar char="q"/>
            </a:pPr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45014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C6AC75-9115-5415-7B57-DDFC107B2E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A5DBD32B-754A-FD50-2AC6-AD666D6BFED5}"/>
              </a:ext>
            </a:extLst>
          </p:cNvPr>
          <p:cNvSpPr/>
          <p:nvPr/>
        </p:nvSpPr>
        <p:spPr>
          <a:xfrm>
            <a:off x="2487674" y="768880"/>
            <a:ext cx="10808290" cy="5820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3182" b="1" dirty="0">
                <a:solidFill>
                  <a:srgbClr val="423D67"/>
                </a:solidFill>
              </a:rPr>
              <a:t>ПРОБЛЕМЫ, БЕСПОКОЯЩИЕ ОБУЧАЮЩИХСЯ  </a:t>
            </a:r>
          </a:p>
        </p:txBody>
      </p:sp>
      <p:graphicFrame>
        <p:nvGraphicFramePr>
          <p:cNvPr id="3" name="Диаграмма 2">
            <a:extLst>
              <a:ext uri="{FF2B5EF4-FFF2-40B4-BE49-F238E27FC236}">
                <a16:creationId xmlns:a16="http://schemas.microsoft.com/office/drawing/2014/main" id="{3DB67389-A167-329D-E293-3FB1269CC2A4}"/>
              </a:ext>
            </a:extLst>
          </p:cNvPr>
          <p:cNvGraphicFramePr/>
          <p:nvPr/>
        </p:nvGraphicFramePr>
        <p:xfrm>
          <a:off x="744685" y="1998132"/>
          <a:ext cx="13629980" cy="83199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7613705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DFB7CD-B978-47CE-3820-0679689328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3">
            <a:extLst>
              <a:ext uri="{FF2B5EF4-FFF2-40B4-BE49-F238E27FC236}">
                <a16:creationId xmlns:a16="http://schemas.microsoft.com/office/drawing/2014/main" id="{952B72F6-0B02-978C-2CBE-B928DFD9BA95}"/>
              </a:ext>
            </a:extLst>
          </p:cNvPr>
          <p:cNvGraphicFramePr>
            <a:graphicFrameLocks/>
          </p:cNvGraphicFramePr>
          <p:nvPr/>
        </p:nvGraphicFramePr>
        <p:xfrm>
          <a:off x="484595" y="2269067"/>
          <a:ext cx="14305230" cy="80038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Прямоугольник 12">
            <a:extLst>
              <a:ext uri="{FF2B5EF4-FFF2-40B4-BE49-F238E27FC236}">
                <a16:creationId xmlns:a16="http://schemas.microsoft.com/office/drawing/2014/main" id="{2ADCFEC2-8B47-A73E-843C-AAC67548BCFF}"/>
              </a:ext>
            </a:extLst>
          </p:cNvPr>
          <p:cNvSpPr/>
          <p:nvPr/>
        </p:nvSpPr>
        <p:spPr>
          <a:xfrm>
            <a:off x="2636191" y="669781"/>
            <a:ext cx="9066111" cy="5820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3182" b="1" dirty="0">
                <a:solidFill>
                  <a:srgbClr val="423D67"/>
                </a:solidFill>
              </a:rPr>
              <a:t>ПРОБЛЕМЫ, БЕСПОКОЯЩИЕ УЧИТЕЛЕЙ   </a:t>
            </a:r>
          </a:p>
        </p:txBody>
      </p:sp>
    </p:spTree>
    <p:extLst>
      <p:ext uri="{BB962C8B-B14F-4D97-AF65-F5344CB8AC3E}">
        <p14:creationId xmlns:p14="http://schemas.microsoft.com/office/powerpoint/2010/main" val="18478125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EEB6698-288A-2061-C49C-E5EE840520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12">
            <a:extLst>
              <a:ext uri="{FF2B5EF4-FFF2-40B4-BE49-F238E27FC236}">
                <a16:creationId xmlns:a16="http://schemas.microsoft.com/office/drawing/2014/main" id="{1F9F62FE-02E7-5FF2-B6F5-FFA52ABDD802}"/>
              </a:ext>
            </a:extLst>
          </p:cNvPr>
          <p:cNvSpPr/>
          <p:nvPr/>
        </p:nvSpPr>
        <p:spPr>
          <a:xfrm>
            <a:off x="3832896" y="821029"/>
            <a:ext cx="6986274" cy="5820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3182" b="1" dirty="0">
                <a:solidFill>
                  <a:srgbClr val="423D67"/>
                </a:solidFill>
              </a:rPr>
              <a:t>ЗАМКНУТЫЙ КРУГ ПРОБЛЕМ  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9F65C861-E208-DA85-19F0-656A3A4E63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7032" y="2801044"/>
            <a:ext cx="6421907" cy="43448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09CB159-5DB4-EBC7-B1F7-7BE6CFF274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6074" y="5345906"/>
            <a:ext cx="4429125" cy="4429125"/>
          </a:xfrm>
          <a:prstGeom prst="rect">
            <a:avLst/>
          </a:prstGeom>
        </p:spPr>
      </p:pic>
      <p:graphicFrame>
        <p:nvGraphicFramePr>
          <p:cNvPr id="6" name="Объект 3">
            <a:extLst>
              <a:ext uri="{FF2B5EF4-FFF2-40B4-BE49-F238E27FC236}">
                <a16:creationId xmlns:a16="http://schemas.microsoft.com/office/drawing/2014/main" id="{E2C85E34-2439-79B0-ED02-2CA778C8EC22}"/>
              </a:ext>
            </a:extLst>
          </p:cNvPr>
          <p:cNvGraphicFramePr>
            <a:graphicFrameLocks/>
          </p:cNvGraphicFramePr>
          <p:nvPr/>
        </p:nvGraphicFramePr>
        <p:xfrm>
          <a:off x="602564" y="2920283"/>
          <a:ext cx="12733479" cy="62318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9381845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2">
            <a:extLst>
              <a:ext uri="{FF2B5EF4-FFF2-40B4-BE49-F238E27FC236}">
                <a16:creationId xmlns:a16="http://schemas.microsoft.com/office/drawing/2014/main" id="{0696772E-0EAC-F31C-7F71-5455E7668730}"/>
              </a:ext>
            </a:extLst>
          </p:cNvPr>
          <p:cNvSpPr/>
          <p:nvPr/>
        </p:nvSpPr>
        <p:spPr>
          <a:xfrm>
            <a:off x="1413337" y="447363"/>
            <a:ext cx="9943776" cy="70788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rtlCol="0" anchor="t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ОСНОВНЫЕ ЗАДАЧИ  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84EFA50-6277-3429-C8BF-59F6A8F3A225}"/>
              </a:ext>
            </a:extLst>
          </p:cNvPr>
          <p:cNvSpPr/>
          <p:nvPr/>
        </p:nvSpPr>
        <p:spPr>
          <a:xfrm>
            <a:off x="1120737" y="8687478"/>
            <a:ext cx="6390806" cy="1306285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тсечь все лишнее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91E325C-A812-7B64-E278-9AB1D64A0E10}"/>
              </a:ext>
            </a:extLst>
          </p:cNvPr>
          <p:cNvSpPr/>
          <p:nvPr/>
        </p:nvSpPr>
        <p:spPr>
          <a:xfrm>
            <a:off x="7753185" y="8664642"/>
            <a:ext cx="6156960" cy="1306285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Оставить нужное 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BFCD464E-CD52-93D5-49A1-196410869A2E}"/>
              </a:ext>
            </a:extLst>
          </p:cNvPr>
          <p:cNvSpPr/>
          <p:nvPr/>
        </p:nvSpPr>
        <p:spPr>
          <a:xfrm>
            <a:off x="1133856" y="2572512"/>
            <a:ext cx="1893855" cy="245059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800" b="1" dirty="0">
                <a:solidFill>
                  <a:srgbClr val="423D67"/>
                </a:solidFill>
              </a:rPr>
              <a:t>Снижение и  конкретизация объема документации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9D94A4F1-086A-3F9B-6C58-893AAA6F57B9}"/>
              </a:ext>
            </a:extLst>
          </p:cNvPr>
          <p:cNvSpPr/>
          <p:nvPr/>
        </p:nvSpPr>
        <p:spPr>
          <a:xfrm>
            <a:off x="3147265" y="2566354"/>
            <a:ext cx="2083477" cy="245059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600" b="1" dirty="0">
                <a:solidFill>
                  <a:srgbClr val="423D67"/>
                </a:solidFill>
              </a:rPr>
              <a:t>Снижение  количества  мониторингов</a:t>
            </a:r>
          </a:p>
          <a:p>
            <a:pPr lvl="0" algn="ctr"/>
            <a:r>
              <a:rPr lang="ru-RU" sz="1600" b="1" dirty="0">
                <a:solidFill>
                  <a:srgbClr val="423D67"/>
                </a:solidFill>
              </a:rPr>
              <a:t>и</a:t>
            </a:r>
          </a:p>
          <a:p>
            <a:pPr lvl="0" algn="ctr"/>
            <a:r>
              <a:rPr lang="ru-RU" sz="1600" b="1" dirty="0">
                <a:solidFill>
                  <a:srgbClr val="423D67"/>
                </a:solidFill>
              </a:rPr>
              <a:t>информационных систем  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AC0FA02B-5423-A36B-1A25-5FBAA709136C}"/>
              </a:ext>
            </a:extLst>
          </p:cNvPr>
          <p:cNvSpPr/>
          <p:nvPr/>
        </p:nvSpPr>
        <p:spPr>
          <a:xfrm>
            <a:off x="5368362" y="2577185"/>
            <a:ext cx="2026361" cy="245059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800" b="1" dirty="0">
                <a:solidFill>
                  <a:srgbClr val="423D67"/>
                </a:solidFill>
              </a:rPr>
              <a:t>Снижение количества контрольных работ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97E1291E-19A0-F188-A7E4-E4B3F44730AE}"/>
              </a:ext>
            </a:extLst>
          </p:cNvPr>
          <p:cNvSpPr/>
          <p:nvPr/>
        </p:nvSpPr>
        <p:spPr>
          <a:xfrm>
            <a:off x="7532343" y="2561280"/>
            <a:ext cx="2114697" cy="245059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00" b="1" dirty="0">
                <a:solidFill>
                  <a:srgbClr val="423D67"/>
                </a:solidFill>
              </a:rPr>
              <a:t>Снижение количества запросов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7A6E696-12C1-61A8-B2C0-DE745C8429CB}"/>
              </a:ext>
            </a:extLst>
          </p:cNvPr>
          <p:cNvSpPr/>
          <p:nvPr/>
        </p:nvSpPr>
        <p:spPr>
          <a:xfrm>
            <a:off x="1120735" y="5233885"/>
            <a:ext cx="12789409" cy="130628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b="1" dirty="0">
                <a:solidFill>
                  <a:srgbClr val="423D67"/>
                </a:solidFill>
              </a:rPr>
              <a:t>Формирование  механизма контрольно-надзорной деятельности 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C7A897C9-79B6-43AE-FB0A-70632CC2F2BD}"/>
              </a:ext>
            </a:extLst>
          </p:cNvPr>
          <p:cNvSpPr/>
          <p:nvPr/>
        </p:nvSpPr>
        <p:spPr>
          <a:xfrm>
            <a:off x="9735375" y="2572512"/>
            <a:ext cx="2026361" cy="245059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rgbClr val="C00000"/>
                </a:solidFill>
              </a:rPr>
              <a:t> </a:t>
            </a:r>
            <a:r>
              <a:rPr lang="ru-RU" sz="1800" b="1" dirty="0">
                <a:solidFill>
                  <a:srgbClr val="423D67"/>
                </a:solidFill>
              </a:rPr>
              <a:t>Конкретизация функционала педагогических работников  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50CF704E-F0E7-15BE-CC66-9620C53DDADD}"/>
              </a:ext>
            </a:extLst>
          </p:cNvPr>
          <p:cNvSpPr/>
          <p:nvPr/>
        </p:nvSpPr>
        <p:spPr>
          <a:xfrm>
            <a:off x="1120736" y="6750951"/>
            <a:ext cx="12789409" cy="130628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b="1" dirty="0">
                <a:solidFill>
                  <a:srgbClr val="423D67"/>
                </a:solidFill>
              </a:rPr>
              <a:t>Формирование  механизма административных наказаний за нарушение требований к документационной нагрузке 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8921A035-F4CB-7AF4-8CB8-279B2DCB4944}"/>
              </a:ext>
            </a:extLst>
          </p:cNvPr>
          <p:cNvCxnSpPr/>
          <p:nvPr/>
        </p:nvCxnSpPr>
        <p:spPr>
          <a:xfrm>
            <a:off x="1120736" y="8388096"/>
            <a:ext cx="12734943" cy="0"/>
          </a:xfrm>
          <a:prstGeom prst="line">
            <a:avLst/>
          </a:prstGeom>
          <a:ln w="76200">
            <a:solidFill>
              <a:srgbClr val="9D9DD7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D01279D-46A0-8E94-78CD-211555D1F11E}"/>
              </a:ext>
            </a:extLst>
          </p:cNvPr>
          <p:cNvSpPr/>
          <p:nvPr/>
        </p:nvSpPr>
        <p:spPr>
          <a:xfrm>
            <a:off x="11850071" y="2561280"/>
            <a:ext cx="2026361" cy="245059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rgbClr val="C00000"/>
                </a:solidFill>
              </a:rPr>
              <a:t> </a:t>
            </a:r>
            <a:r>
              <a:rPr lang="ru-RU" sz="1800" b="1" dirty="0">
                <a:solidFill>
                  <a:srgbClr val="423D67"/>
                </a:solidFill>
              </a:rPr>
              <a:t>Снижение количества мероприятий </a:t>
            </a:r>
          </a:p>
        </p:txBody>
      </p:sp>
    </p:spTree>
    <p:extLst>
      <p:ext uri="{BB962C8B-B14F-4D97-AF65-F5344CB8AC3E}">
        <p14:creationId xmlns:p14="http://schemas.microsoft.com/office/powerpoint/2010/main" val="37555003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CFFAFC8-D13F-C7CF-E255-56A3E57B8C06}"/>
              </a:ext>
            </a:extLst>
          </p:cNvPr>
          <p:cNvSpPr txBox="1"/>
          <p:nvPr/>
        </p:nvSpPr>
        <p:spPr>
          <a:xfrm>
            <a:off x="1147315" y="163952"/>
            <a:ext cx="10477499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rgbClr val="423D67"/>
                </a:solidFill>
              </a:rPr>
              <a:t>ГОСУДАРСТВЕННАЯ РЕГЛАМЕНТАЦИЯ  БЮРОКРАТИЧЕСКОЙ НАГРУЗКИ    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2FEF26D-3042-884C-79EF-D3311013CE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3514935"/>
              </p:ext>
            </p:extLst>
          </p:nvPr>
        </p:nvGraphicFramePr>
        <p:xfrm>
          <a:off x="457173" y="1539738"/>
          <a:ext cx="14151428" cy="795431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4055960">
                  <a:extLst>
                    <a:ext uri="{9D8B030D-6E8A-4147-A177-3AD203B41FA5}">
                      <a16:colId xmlns:a16="http://schemas.microsoft.com/office/drawing/2014/main" val="3686103623"/>
                    </a:ext>
                  </a:extLst>
                </a:gridCol>
                <a:gridCol w="3434235">
                  <a:extLst>
                    <a:ext uri="{9D8B030D-6E8A-4147-A177-3AD203B41FA5}">
                      <a16:colId xmlns:a16="http://schemas.microsoft.com/office/drawing/2014/main" val="516741832"/>
                    </a:ext>
                  </a:extLst>
                </a:gridCol>
                <a:gridCol w="3286208">
                  <a:extLst>
                    <a:ext uri="{9D8B030D-6E8A-4147-A177-3AD203B41FA5}">
                      <a16:colId xmlns:a16="http://schemas.microsoft.com/office/drawing/2014/main" val="568660682"/>
                    </a:ext>
                  </a:extLst>
                </a:gridCol>
                <a:gridCol w="3375025">
                  <a:extLst>
                    <a:ext uri="{9D8B030D-6E8A-4147-A177-3AD203B41FA5}">
                      <a16:colId xmlns:a16="http://schemas.microsoft.com/office/drawing/2014/main" val="54404954"/>
                    </a:ext>
                  </a:extLst>
                </a:gridCol>
              </a:tblGrid>
              <a:tr h="988203">
                <a:tc>
                  <a:txBody>
                    <a:bodyPr/>
                    <a:lstStyle/>
                    <a:p>
                      <a:r>
                        <a:rPr lang="ru-RU" sz="2400" dirty="0"/>
                        <a:t>Нормы 273 ФЗ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23D6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/>
                        <a:t>Приказы и иные документы ФОИВ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23D6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 err="1"/>
                        <a:t>Профстандарты</a:t>
                      </a:r>
                      <a:r>
                        <a:rPr lang="ru-RU" sz="2400" dirty="0"/>
                        <a:t>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23D67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400" dirty="0"/>
                        <a:t>Должностные инструкции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23D6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526541"/>
                  </a:ext>
                </a:extLst>
              </a:tr>
              <a:tr h="903372">
                <a:tc>
                  <a:txBody>
                    <a:bodyPr/>
                    <a:lstStyle/>
                    <a:p>
                      <a:pPr marL="0" marR="0" lvl="0" indent="0" algn="l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Наделить полномочиями Минпросвещения России формировать перечень документов педагогов общеобразовательных организаций </a:t>
                      </a:r>
                    </a:p>
                    <a:p>
                      <a:endParaRPr lang="ru-RU" sz="14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</a:rPr>
                        <a:t>Приказ о перечне документов педагогов общеобразовательных организаций </a:t>
                      </a:r>
                    </a:p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/>
                        <a:t>Дополнить профстандарт педагога трудовой функцией «документационная деятельность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/>
                        <a:t>Разработать и утвердить  типовые  должностные инструкции учителя-предметника и классного руководителя 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604643"/>
                  </a:ext>
                </a:extLst>
              </a:tr>
              <a:tr h="903372">
                <a:tc>
                  <a:txBody>
                    <a:bodyPr/>
                    <a:lstStyle/>
                    <a:p>
                      <a:r>
                        <a:rPr lang="ru-RU" sz="1400" b="0" dirty="0"/>
                        <a:t>Наделить полномочиями </a:t>
                      </a:r>
                      <a:r>
                        <a:rPr lang="ru-RU" sz="1400" b="0" dirty="0" err="1"/>
                        <a:t>ФОИВы</a:t>
                      </a:r>
                      <a:r>
                        <a:rPr lang="ru-RU" sz="1400" b="0" dirty="0"/>
                        <a:t> </a:t>
                      </a:r>
                    </a:p>
                    <a:p>
                      <a:r>
                        <a:rPr lang="ru-RU" sz="1400" b="0" dirty="0"/>
                        <a:t>формировать перечни документов педагогических работников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Приказы  о </a:t>
                      </a:r>
                      <a:r>
                        <a:rPr lang="ru-RU" sz="1400" b="0" dirty="0"/>
                        <a:t>перечнях и примерных формах  документов педагогических работников и образовательных организаций СПО и ВО  </a:t>
                      </a:r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Обеспечить разработку </a:t>
                      </a:r>
                      <a:r>
                        <a:rPr lang="ru-RU" sz="1400" b="0" dirty="0" err="1">
                          <a:solidFill>
                            <a:schemeClr val="tx1"/>
                          </a:solidFill>
                        </a:rPr>
                        <a:t>профстандартов</a:t>
                      </a:r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 ко всем категориям педагогических работников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Разработать и утвердить  типовые должностные инструкции для всех категорий педагогических работников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9924045"/>
                  </a:ext>
                </a:extLst>
              </a:tr>
              <a:tr h="903372">
                <a:tc>
                  <a:txBody>
                    <a:bodyPr/>
                    <a:lstStyle/>
                    <a:p>
                      <a:pPr marL="0" marR="0" lvl="0" indent="0" algn="l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/>
                        <a:t>Наделить правом образовательных организаций не отвечать на запросы, не имеющие федеральных оснований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Приказы о персональной ответственности за исходящую документацию из ФОИВ </a:t>
                      </a:r>
                    </a:p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rowSpan="6" gridSpan="2">
                  <a:txBody>
                    <a:bodyPr/>
                    <a:lstStyle/>
                    <a:p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  <a:p>
                      <a:pPr marL="0" marR="0" lvl="0" indent="0" algn="ctr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/>
                    </a:p>
                    <a:p>
                      <a:pPr marL="0" marR="0" lvl="0" indent="0" algn="ctr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/>
                    </a:p>
                    <a:p>
                      <a:pPr marL="0" marR="0" lvl="0" indent="0" algn="ctr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/>
                    </a:p>
                    <a:p>
                      <a:pPr marL="0" marR="0" lvl="0" indent="0" algn="ctr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/>
                    </a:p>
                    <a:p>
                      <a:pPr marL="0" marR="0" lvl="0" indent="0" algn="ctr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 </a:t>
                      </a:r>
                      <a:r>
                        <a:rPr lang="ru-RU" sz="2400" b="1" dirty="0">
                          <a:solidFill>
                            <a:schemeClr val="tx1"/>
                          </a:solidFill>
                        </a:rPr>
                        <a:t>Привести в соответствие федеральные, региональные и локальные НПА, а также методические и инструктивные материалы законодательству РФ </a:t>
                      </a:r>
                    </a:p>
                    <a:p>
                      <a:pPr algn="ctr"/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rowSpan="6"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8378905"/>
                  </a:ext>
                </a:extLst>
              </a:tr>
              <a:tr h="903372">
                <a:tc>
                  <a:txBody>
                    <a:bodyPr/>
                    <a:lstStyle/>
                    <a:p>
                      <a:pPr lvl="0"/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273 ФЗ</a:t>
                      </a:r>
                    </a:p>
                    <a:p>
                      <a:pPr lvl="0"/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Согласование оценочных процедур с Рособрнадзором </a:t>
                      </a:r>
                      <a:endParaRPr lang="ru-RU" sz="1400" b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Постановление Правительства РФ </a:t>
                      </a:r>
                    </a:p>
                    <a:p>
                      <a:pPr lvl="0"/>
                      <a:r>
                        <a:rPr lang="ru-RU" sz="1400" b="0" dirty="0">
                          <a:solidFill>
                            <a:schemeClr val="tx1"/>
                          </a:solidFill>
                        </a:rPr>
                        <a:t>о мероприятиях об оценке качества образования </a:t>
                      </a:r>
                    </a:p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13859485"/>
                  </a:ext>
                </a:extLst>
              </a:tr>
              <a:tr h="699385">
                <a:tc>
                  <a:txBody>
                    <a:bodyPr/>
                    <a:lstStyle/>
                    <a:p>
                      <a:r>
                        <a:rPr lang="ru-RU" sz="1400" b="0" dirty="0"/>
                        <a:t>Наделить полномочиями </a:t>
                      </a:r>
                      <a:r>
                        <a:rPr lang="ru-RU" sz="1400" b="0" dirty="0" err="1"/>
                        <a:t>ФОИВы</a:t>
                      </a:r>
                      <a:r>
                        <a:rPr lang="ru-RU" sz="1400" b="0" dirty="0"/>
                        <a:t> применять административные меры за нарушение требований к документационной нагрузке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Изменения во ФГОС в части требований к объему рабочей программы воспитани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4668402"/>
                  </a:ext>
                </a:extLst>
              </a:tr>
              <a:tr h="699385">
                <a:tc>
                  <a:txBody>
                    <a:bodyPr/>
                    <a:lstStyle/>
                    <a:p>
                      <a:r>
                        <a:rPr lang="ru-RU" sz="1400" b="0" dirty="0"/>
                        <a:t>Нормы ФЗ по проведению и иных  мероприятий, реализуемых за пределами образовательной программы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14255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Приказы об утверждении функционала классного руководителя </a:t>
                      </a:r>
                    </a:p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1555598"/>
                  </a:ext>
                </a:extLst>
              </a:tr>
              <a:tr h="739170">
                <a:tc>
                  <a:txBody>
                    <a:bodyPr/>
                    <a:lstStyle/>
                    <a:p>
                      <a:r>
                        <a:rPr lang="ru-RU" sz="1400" b="0" dirty="0"/>
                        <a:t>Запретить требовать заполнение информационных систем и мониторингов, не имеющих федеральные основания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3246031"/>
                  </a:ext>
                </a:extLst>
              </a:tr>
              <a:tr h="984377">
                <a:tc>
                  <a:txBody>
                    <a:bodyPr/>
                    <a:lstStyle/>
                    <a:p>
                      <a:r>
                        <a:rPr lang="ru-RU" sz="1400" b="0" dirty="0"/>
                        <a:t>Конкретизировать понятия «образовательная программа» и «педагогическая деятельность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Иное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 hMerge="1"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7210133"/>
                  </a:ext>
                </a:extLst>
              </a:tr>
            </a:tbl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A2EA631-C0BA-E70B-933C-E775150CB802}"/>
              </a:ext>
            </a:extLst>
          </p:cNvPr>
          <p:cNvSpPr/>
          <p:nvPr/>
        </p:nvSpPr>
        <p:spPr>
          <a:xfrm>
            <a:off x="4702477" y="9977686"/>
            <a:ext cx="1002474" cy="546643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ABCCC93-5EF5-4143-354C-15D751537F9C}"/>
              </a:ext>
            </a:extLst>
          </p:cNvPr>
          <p:cNvSpPr/>
          <p:nvPr/>
        </p:nvSpPr>
        <p:spPr>
          <a:xfrm>
            <a:off x="10003809" y="9927352"/>
            <a:ext cx="1062420" cy="577973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E090081-AA52-5B1A-B846-7246AE436B9E}"/>
              </a:ext>
            </a:extLst>
          </p:cNvPr>
          <p:cNvSpPr txBox="1"/>
          <p:nvPr/>
        </p:nvSpPr>
        <p:spPr>
          <a:xfrm>
            <a:off x="5704951" y="10026078"/>
            <a:ext cx="3655873" cy="483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Частично реализовано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9127F8B-A9F5-F95A-3001-F3EB1061D858}"/>
              </a:ext>
            </a:extLst>
          </p:cNvPr>
          <p:cNvSpPr txBox="1"/>
          <p:nvPr/>
        </p:nvSpPr>
        <p:spPr>
          <a:xfrm>
            <a:off x="11232359" y="9958683"/>
            <a:ext cx="2647584" cy="483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Не реализовано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EA2EA631-C0BA-E70B-933C-E775150CB802}"/>
              </a:ext>
            </a:extLst>
          </p:cNvPr>
          <p:cNvSpPr/>
          <p:nvPr/>
        </p:nvSpPr>
        <p:spPr>
          <a:xfrm>
            <a:off x="488496" y="9927352"/>
            <a:ext cx="1002474" cy="54664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E090081-AA52-5B1A-B846-7246AE436B9E}"/>
              </a:ext>
            </a:extLst>
          </p:cNvPr>
          <p:cNvSpPr txBox="1"/>
          <p:nvPr/>
        </p:nvSpPr>
        <p:spPr>
          <a:xfrm>
            <a:off x="1589519" y="9990016"/>
            <a:ext cx="2161938" cy="48397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Реализовано</a:t>
            </a:r>
          </a:p>
        </p:txBody>
      </p:sp>
    </p:spTree>
    <p:extLst>
      <p:ext uri="{BB962C8B-B14F-4D97-AF65-F5344CB8AC3E}">
        <p14:creationId xmlns:p14="http://schemas.microsoft.com/office/powerpoint/2010/main" val="35752389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25D7DF0-838E-80A8-F925-DEF832042967}"/>
              </a:ext>
            </a:extLst>
          </p:cNvPr>
          <p:cNvSpPr txBox="1">
            <a:spLocks/>
          </p:cNvSpPr>
          <p:nvPr/>
        </p:nvSpPr>
        <p:spPr>
          <a:xfrm>
            <a:off x="1452341" y="631134"/>
            <a:ext cx="11981297" cy="647775"/>
          </a:xfrm>
          <a:prstGeom prst="rect">
            <a:avLst/>
          </a:prstGeom>
        </p:spPr>
        <p:txBody>
          <a:bodyPr/>
          <a:lstStyle>
            <a:lvl1pPr algn="l" defTabSz="14255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8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b="1" dirty="0">
                <a:solidFill>
                  <a:srgbClr val="565087"/>
                </a:solidFill>
              </a:rPr>
              <a:t>КТО ПРОВОДИТ КОНТРОЛЬНЫЕ РАБОТЫ ?</a:t>
            </a: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B7A030C4-3558-1E1C-81C7-693D48436F0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5265379"/>
              </p:ext>
            </p:extLst>
          </p:nvPr>
        </p:nvGraphicFramePr>
        <p:xfrm>
          <a:off x="1567543" y="1986051"/>
          <a:ext cx="11031915" cy="82900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0442421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Схема 1">
            <a:extLst>
              <a:ext uri="{FF2B5EF4-FFF2-40B4-BE49-F238E27FC236}">
                <a16:creationId xmlns:a16="http://schemas.microsoft.com/office/drawing/2014/main" id="{64CA7161-203C-513F-C620-C3A351DBB9E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09150900"/>
              </p:ext>
            </p:extLst>
          </p:nvPr>
        </p:nvGraphicFramePr>
        <p:xfrm>
          <a:off x="827314" y="1764579"/>
          <a:ext cx="13786971" cy="83009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Заголовок 1">
            <a:extLst>
              <a:ext uri="{FF2B5EF4-FFF2-40B4-BE49-F238E27FC236}">
                <a16:creationId xmlns:a16="http://schemas.microsoft.com/office/drawing/2014/main" id="{76529C04-CE1E-19F1-CD16-FF14EB7C6F35}"/>
              </a:ext>
            </a:extLst>
          </p:cNvPr>
          <p:cNvSpPr txBox="1">
            <a:spLocks/>
          </p:cNvSpPr>
          <p:nvPr/>
        </p:nvSpPr>
        <p:spPr>
          <a:xfrm>
            <a:off x="1452341" y="631134"/>
            <a:ext cx="11981297" cy="647775"/>
          </a:xfrm>
          <a:prstGeom prst="rect">
            <a:avLst/>
          </a:prstGeom>
        </p:spPr>
        <p:txBody>
          <a:bodyPr/>
          <a:lstStyle>
            <a:lvl1pPr algn="l" defTabSz="142555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8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b="1" dirty="0">
                <a:solidFill>
                  <a:srgbClr val="565087"/>
                </a:solidFill>
              </a:rPr>
              <a:t>КАК СНИЗИТЬ КОЛИЧЕСТВО КОНТОЛЬНЫХ?</a:t>
            </a:r>
          </a:p>
        </p:txBody>
      </p:sp>
    </p:spTree>
    <p:extLst>
      <p:ext uri="{BB962C8B-B14F-4D97-AF65-F5344CB8AC3E}">
        <p14:creationId xmlns:p14="http://schemas.microsoft.com/office/powerpoint/2010/main" val="23931649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0AB6D91-3D58-603E-4297-2849C6387822}"/>
              </a:ext>
            </a:extLst>
          </p:cNvPr>
          <p:cNvSpPr txBox="1"/>
          <p:nvPr/>
        </p:nvSpPr>
        <p:spPr>
          <a:xfrm>
            <a:off x="1147315" y="687868"/>
            <a:ext cx="1239451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4000" b="1" dirty="0">
                <a:solidFill>
                  <a:srgbClr val="423D67"/>
                </a:solidFill>
              </a:rPr>
              <a:t>ИНФОРМАЦИОННЫЕ КАНАЛЫ В ВК СФЕРУМ     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45FA195-20F8-9787-1E5D-72A27AB0DA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80674" y="1667436"/>
            <a:ext cx="4482603" cy="82295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31D6259-C673-14D9-3DC6-73C1CC6D93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8348" y="1667436"/>
            <a:ext cx="4669636" cy="83365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09F2DB97-1C7B-F18A-EE0C-C4A4AD39B2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8597" y="1736122"/>
            <a:ext cx="3820440" cy="82678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751184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8A8AD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937</TotalTime>
  <Words>493</Words>
  <Application>Microsoft Office PowerPoint</Application>
  <PresentationFormat>Произвольный</PresentationFormat>
  <Paragraphs>115</Paragraphs>
  <Slides>10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7" baseType="lpstr">
      <vt:lpstr>Arial</vt:lpstr>
      <vt:lpstr>Wingdings</vt:lpstr>
      <vt:lpstr>Calibri Light</vt:lpstr>
      <vt:lpstr>Calibri</vt:lpstr>
      <vt:lpstr>Тема Office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уплинов Ярослав</dc:creator>
  <cp:lastModifiedBy>Petrochenko_TV</cp:lastModifiedBy>
  <cp:revision>865</cp:revision>
  <cp:lastPrinted>2021-03-16T12:01:01Z</cp:lastPrinted>
  <dcterms:created xsi:type="dcterms:W3CDTF">2020-06-19T06:58:49Z</dcterms:created>
  <dcterms:modified xsi:type="dcterms:W3CDTF">2024-09-30T09:51:07Z</dcterms:modified>
</cp:coreProperties>
</file>